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  <p:sldMasterId id="2147483671" r:id="rId3"/>
    <p:sldMasterId id="2147483683" r:id="rId4"/>
    <p:sldMasterId id="2147483729" r:id="rId5"/>
  </p:sldMasterIdLst>
  <p:notesMasterIdLst>
    <p:notesMasterId r:id="rId64"/>
  </p:notesMasterIdLst>
  <p:sldIdLst>
    <p:sldId id="256" r:id="rId6"/>
    <p:sldId id="373" r:id="rId7"/>
    <p:sldId id="1922" r:id="rId8"/>
    <p:sldId id="1792" r:id="rId9"/>
    <p:sldId id="2087" r:id="rId10"/>
    <p:sldId id="574" r:id="rId11"/>
    <p:sldId id="1927" r:id="rId12"/>
    <p:sldId id="506" r:id="rId13"/>
    <p:sldId id="296" r:id="rId14"/>
    <p:sldId id="487" r:id="rId15"/>
    <p:sldId id="479" r:id="rId16"/>
    <p:sldId id="418" r:id="rId17"/>
    <p:sldId id="257" r:id="rId18"/>
    <p:sldId id="263" r:id="rId19"/>
    <p:sldId id="264" r:id="rId20"/>
    <p:sldId id="366" r:id="rId21"/>
    <p:sldId id="1729" r:id="rId22"/>
    <p:sldId id="1728" r:id="rId23"/>
    <p:sldId id="270" r:id="rId24"/>
    <p:sldId id="2095" r:id="rId25"/>
    <p:sldId id="547" r:id="rId26"/>
    <p:sldId id="548" r:id="rId27"/>
    <p:sldId id="672" r:id="rId28"/>
    <p:sldId id="670" r:id="rId29"/>
    <p:sldId id="671" r:id="rId30"/>
    <p:sldId id="408" r:id="rId31"/>
    <p:sldId id="2088" r:id="rId32"/>
    <p:sldId id="429" r:id="rId33"/>
    <p:sldId id="1806" r:id="rId34"/>
    <p:sldId id="262" r:id="rId35"/>
    <p:sldId id="2089" r:id="rId36"/>
    <p:sldId id="633" r:id="rId37"/>
    <p:sldId id="1888" r:id="rId38"/>
    <p:sldId id="1889" r:id="rId39"/>
    <p:sldId id="1892" r:id="rId40"/>
    <p:sldId id="2096" r:id="rId41"/>
    <p:sldId id="1900" r:id="rId42"/>
    <p:sldId id="2097" r:id="rId43"/>
    <p:sldId id="1896" r:id="rId44"/>
    <p:sldId id="1897" r:id="rId45"/>
    <p:sldId id="1898" r:id="rId46"/>
    <p:sldId id="1899" r:id="rId47"/>
    <p:sldId id="2085" r:id="rId48"/>
    <p:sldId id="2086" r:id="rId49"/>
    <p:sldId id="2098" r:id="rId50"/>
    <p:sldId id="2090" r:id="rId51"/>
    <p:sldId id="409" r:id="rId52"/>
    <p:sldId id="1893" r:id="rId53"/>
    <p:sldId id="1914" r:id="rId54"/>
    <p:sldId id="1894" r:id="rId55"/>
    <p:sldId id="1895" r:id="rId56"/>
    <p:sldId id="2091" r:id="rId57"/>
    <p:sldId id="2092" r:id="rId58"/>
    <p:sldId id="2093" r:id="rId59"/>
    <p:sldId id="2094" r:id="rId60"/>
    <p:sldId id="1940" r:id="rId61"/>
    <p:sldId id="1941" r:id="rId62"/>
    <p:sldId id="269" r:id="rId63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933"/>
    <a:srgbClr val="E85C0E"/>
    <a:srgbClr val="E936ED"/>
    <a:srgbClr val="000099"/>
    <a:srgbClr val="F38D4D"/>
    <a:srgbClr val="D5540D"/>
    <a:srgbClr val="D01F29"/>
    <a:srgbClr val="CE510C"/>
    <a:srgbClr val="C04C0C"/>
    <a:srgbClr val="996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873" autoAdjust="0"/>
    <p:restoredTop sz="94565" autoAdjust="0"/>
  </p:normalViewPr>
  <p:slideViewPr>
    <p:cSldViewPr snapToGrid="0">
      <p:cViewPr varScale="1">
        <p:scale>
          <a:sx n="154" d="100"/>
          <a:sy n="154" d="100"/>
        </p:scale>
        <p:origin x="216" y="88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548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slide" Target="slides/slide58.xml"/><Relationship Id="rId68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6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theme" Target="theme/theme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D9F371C-6F74-4397-8012-F8E700C5D858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C7304A7-3964-47BD-BC70-83E5E91DA9CA}">
      <dgm:prSet phldrT="[Text]"/>
      <dgm:spPr/>
      <dgm:t>
        <a:bodyPr/>
        <a:lstStyle/>
        <a:p>
          <a:r>
            <a:rPr lang="en-US" dirty="0"/>
            <a:t>Mild/Moderate</a:t>
          </a:r>
        </a:p>
      </dgm:t>
    </dgm:pt>
    <dgm:pt modelId="{65F8A3C7-97C4-42D1-950D-D2A5A27FE9C5}" type="parTrans" cxnId="{A4FDC76B-62DA-4B19-90D9-10568BD0A623}">
      <dgm:prSet/>
      <dgm:spPr/>
      <dgm:t>
        <a:bodyPr/>
        <a:lstStyle/>
        <a:p>
          <a:endParaRPr lang="en-US"/>
        </a:p>
      </dgm:t>
    </dgm:pt>
    <dgm:pt modelId="{74AF253F-7871-4ECA-B928-A8013D26894B}" type="sibTrans" cxnId="{A4FDC76B-62DA-4B19-90D9-10568BD0A623}">
      <dgm:prSet/>
      <dgm:spPr/>
      <dgm:t>
        <a:bodyPr/>
        <a:lstStyle/>
        <a:p>
          <a:endParaRPr lang="en-US"/>
        </a:p>
      </dgm:t>
    </dgm:pt>
    <dgm:pt modelId="{1DE584FA-06E9-49B0-A114-7B92F7228B3F}">
      <dgm:prSet phldrT="[Text]"/>
      <dgm:spPr/>
      <dgm:t>
        <a:bodyPr/>
        <a:lstStyle/>
        <a:p>
          <a:r>
            <a:rPr lang="en-US" dirty="0"/>
            <a:t>Not requiring supplemental O2</a:t>
          </a:r>
        </a:p>
      </dgm:t>
    </dgm:pt>
    <dgm:pt modelId="{9C7F5B6C-CB92-488C-BEEA-FA7B024945A0}" type="parTrans" cxnId="{54F8B04D-7DDC-49CE-92E0-9835B3A1730F}">
      <dgm:prSet/>
      <dgm:spPr/>
      <dgm:t>
        <a:bodyPr/>
        <a:lstStyle/>
        <a:p>
          <a:endParaRPr lang="en-US"/>
        </a:p>
      </dgm:t>
    </dgm:pt>
    <dgm:pt modelId="{0FC04220-2233-446A-BF9A-819C4B528ECA}" type="sibTrans" cxnId="{54F8B04D-7DDC-49CE-92E0-9835B3A1730F}">
      <dgm:prSet/>
      <dgm:spPr/>
      <dgm:t>
        <a:bodyPr/>
        <a:lstStyle/>
        <a:p>
          <a:endParaRPr lang="en-US"/>
        </a:p>
      </dgm:t>
    </dgm:pt>
    <dgm:pt modelId="{E7F3A749-9E3E-4D04-B49F-4427774FCE74}">
      <dgm:prSet phldrT="[Text]"/>
      <dgm:spPr/>
      <dgm:t>
        <a:bodyPr/>
        <a:lstStyle/>
        <a:p>
          <a:r>
            <a:rPr lang="en-US" b="0" i="0" dirty="0"/>
            <a:t>Insufficient data to recommend for or against </a:t>
          </a:r>
          <a:r>
            <a:rPr lang="en-US" b="0" i="0" dirty="0" err="1"/>
            <a:t>remdesivir</a:t>
          </a:r>
          <a:endParaRPr lang="en-US" dirty="0"/>
        </a:p>
      </dgm:t>
    </dgm:pt>
    <dgm:pt modelId="{DBA88699-387D-42A7-8FBB-E105D1462CEA}" type="parTrans" cxnId="{145E8B9F-2F5E-46CF-8E93-77E299C86AFA}">
      <dgm:prSet/>
      <dgm:spPr/>
      <dgm:t>
        <a:bodyPr/>
        <a:lstStyle/>
        <a:p>
          <a:endParaRPr lang="en-US"/>
        </a:p>
      </dgm:t>
    </dgm:pt>
    <dgm:pt modelId="{151C476D-B9C3-4114-90B3-11944F041D78}" type="sibTrans" cxnId="{145E8B9F-2F5E-46CF-8E93-77E299C86AFA}">
      <dgm:prSet/>
      <dgm:spPr/>
      <dgm:t>
        <a:bodyPr/>
        <a:lstStyle/>
        <a:p>
          <a:endParaRPr lang="en-US"/>
        </a:p>
      </dgm:t>
    </dgm:pt>
    <dgm:pt modelId="{C90C2F97-8CCF-4C93-869A-2B8C9E92DD94}">
      <dgm:prSet phldrT="[Text]"/>
      <dgm:spPr/>
      <dgm:t>
        <a:bodyPr/>
        <a:lstStyle/>
        <a:p>
          <a:r>
            <a:rPr lang="en-US" dirty="0"/>
            <a:t>Hospitalized requiring supplemental O2</a:t>
          </a:r>
        </a:p>
      </dgm:t>
    </dgm:pt>
    <dgm:pt modelId="{97F2FD20-5DC1-4D41-B4C9-36D70AF45AF3}" type="parTrans" cxnId="{454A529D-FCA6-40DB-9317-3C09102DCA99}">
      <dgm:prSet/>
      <dgm:spPr/>
      <dgm:t>
        <a:bodyPr/>
        <a:lstStyle/>
        <a:p>
          <a:endParaRPr lang="en-US"/>
        </a:p>
      </dgm:t>
    </dgm:pt>
    <dgm:pt modelId="{B7310846-8607-4604-8297-86BE8E8B8B2E}" type="sibTrans" cxnId="{454A529D-FCA6-40DB-9317-3C09102DCA99}">
      <dgm:prSet/>
      <dgm:spPr/>
      <dgm:t>
        <a:bodyPr/>
        <a:lstStyle/>
        <a:p>
          <a:endParaRPr lang="en-US"/>
        </a:p>
      </dgm:t>
    </dgm:pt>
    <dgm:pt modelId="{CB6EC4F6-E220-4825-A99B-B7D82277FF4F}">
      <dgm:prSet phldrT="[Text]"/>
      <dgm:spPr/>
      <dgm:t>
        <a:bodyPr/>
        <a:lstStyle/>
        <a:p>
          <a:r>
            <a:rPr lang="en-US" dirty="0"/>
            <a:t>Not requiring HF O2, n</a:t>
          </a:r>
          <a:r>
            <a:rPr lang="en-US" b="0" i="0" dirty="0"/>
            <a:t>oninvasive or invasive </a:t>
          </a:r>
          <a:r>
            <a:rPr lang="en-US" b="0" i="0" dirty="0" err="1"/>
            <a:t>mech</a:t>
          </a:r>
          <a:r>
            <a:rPr lang="en-US" b="0" i="0" dirty="0"/>
            <a:t> vent</a:t>
          </a:r>
          <a:r>
            <a:rPr lang="en-US" dirty="0"/>
            <a:t>, ECMO</a:t>
          </a:r>
        </a:p>
      </dgm:t>
    </dgm:pt>
    <dgm:pt modelId="{9DFC6B58-918B-4915-BB2F-CB74F5E439E8}" type="parTrans" cxnId="{3E05A44F-02C5-46AB-86D7-5D3106AF2139}">
      <dgm:prSet/>
      <dgm:spPr/>
      <dgm:t>
        <a:bodyPr/>
        <a:lstStyle/>
        <a:p>
          <a:endParaRPr lang="en-US"/>
        </a:p>
      </dgm:t>
    </dgm:pt>
    <dgm:pt modelId="{C02CBCB1-7CFA-4E23-8061-08CB42C2C93A}" type="sibTrans" cxnId="{3E05A44F-02C5-46AB-86D7-5D3106AF2139}">
      <dgm:prSet/>
      <dgm:spPr/>
      <dgm:t>
        <a:bodyPr/>
        <a:lstStyle/>
        <a:p>
          <a:endParaRPr lang="en-US"/>
        </a:p>
      </dgm:t>
    </dgm:pt>
    <dgm:pt modelId="{F4942DD5-61E7-42D3-A638-1E1F73D94857}">
      <dgm:prSet phldrT="[Text]"/>
      <dgm:spPr/>
      <dgm:t>
        <a:bodyPr/>
        <a:lstStyle/>
        <a:p>
          <a:r>
            <a:rPr lang="en-US" b="0" i="0" dirty="0" err="1"/>
            <a:t>Remdesivir</a:t>
          </a:r>
          <a:r>
            <a:rPr lang="en-US" b="0" i="0" dirty="0"/>
            <a:t> x 5 days or until discharge, whichever comes first (AI)</a:t>
          </a:r>
          <a:endParaRPr lang="en-US" dirty="0"/>
        </a:p>
      </dgm:t>
    </dgm:pt>
    <dgm:pt modelId="{C51A6192-4EDB-41BB-BB65-20D4DEC7F1CA}" type="parTrans" cxnId="{B26E0D28-063E-45C5-9763-84CFFCF77A0E}">
      <dgm:prSet/>
      <dgm:spPr/>
      <dgm:t>
        <a:bodyPr/>
        <a:lstStyle/>
        <a:p>
          <a:endParaRPr lang="en-US"/>
        </a:p>
      </dgm:t>
    </dgm:pt>
    <dgm:pt modelId="{F5848FC7-F9FC-44A5-B37C-87690493A310}" type="sibTrans" cxnId="{B26E0D28-063E-45C5-9763-84CFFCF77A0E}">
      <dgm:prSet/>
      <dgm:spPr/>
      <dgm:t>
        <a:bodyPr/>
        <a:lstStyle/>
        <a:p>
          <a:endParaRPr lang="en-US"/>
        </a:p>
      </dgm:t>
    </dgm:pt>
    <dgm:pt modelId="{07E66522-D958-4F02-B788-9E73F5B148D7}">
      <dgm:prSet phldrT="[Text]"/>
      <dgm:spPr/>
      <dgm:t>
        <a:bodyPr/>
        <a:lstStyle/>
        <a:p>
          <a:r>
            <a:rPr lang="en-US" dirty="0"/>
            <a:t>Hospitalized requiring &gt; supplemental O2</a:t>
          </a:r>
        </a:p>
      </dgm:t>
    </dgm:pt>
    <dgm:pt modelId="{9522882E-532C-44DB-B8A5-796F9C3CBF15}" type="parTrans" cxnId="{A503259E-3FF7-458A-95CF-A78E0B5A0242}">
      <dgm:prSet/>
      <dgm:spPr/>
      <dgm:t>
        <a:bodyPr/>
        <a:lstStyle/>
        <a:p>
          <a:endParaRPr lang="en-US"/>
        </a:p>
      </dgm:t>
    </dgm:pt>
    <dgm:pt modelId="{B0492B81-77BF-4324-ABA2-70D9F6F0E685}" type="sibTrans" cxnId="{A503259E-3FF7-458A-95CF-A78E0B5A0242}">
      <dgm:prSet/>
      <dgm:spPr/>
      <dgm:t>
        <a:bodyPr/>
        <a:lstStyle/>
        <a:p>
          <a:endParaRPr lang="en-US"/>
        </a:p>
      </dgm:t>
    </dgm:pt>
    <dgm:pt modelId="{BF892FF2-1DDD-41E4-AF9F-233E7D103C42}">
      <dgm:prSet phldrT="[Text]"/>
      <dgm:spPr/>
      <dgm:t>
        <a:bodyPr/>
        <a:lstStyle/>
        <a:p>
          <a:r>
            <a:rPr lang="en-US" dirty="0"/>
            <a:t>Requiring HF O2, n</a:t>
          </a:r>
          <a:r>
            <a:rPr lang="en-US" b="0" i="0" dirty="0"/>
            <a:t>oninvasive or invasive </a:t>
          </a:r>
          <a:r>
            <a:rPr lang="en-US" b="0" i="0" dirty="0" err="1"/>
            <a:t>mech</a:t>
          </a:r>
          <a:r>
            <a:rPr lang="en-US" b="0" i="0" dirty="0"/>
            <a:t> ventilation</a:t>
          </a:r>
          <a:r>
            <a:rPr lang="en-US" dirty="0"/>
            <a:t>, ECMO</a:t>
          </a:r>
        </a:p>
      </dgm:t>
    </dgm:pt>
    <dgm:pt modelId="{241C5D28-4982-4A55-959D-D49AA4393880}" type="parTrans" cxnId="{F11F54C5-A30B-455E-8375-4FDED3011B1E}">
      <dgm:prSet/>
      <dgm:spPr/>
      <dgm:t>
        <a:bodyPr/>
        <a:lstStyle/>
        <a:p>
          <a:endParaRPr lang="en-US"/>
        </a:p>
      </dgm:t>
    </dgm:pt>
    <dgm:pt modelId="{20048F79-AD7C-41ED-B4F3-6E048F9894FC}" type="sibTrans" cxnId="{F11F54C5-A30B-455E-8375-4FDED3011B1E}">
      <dgm:prSet/>
      <dgm:spPr/>
      <dgm:t>
        <a:bodyPr/>
        <a:lstStyle/>
        <a:p>
          <a:endParaRPr lang="en-US"/>
        </a:p>
      </dgm:t>
    </dgm:pt>
    <dgm:pt modelId="{E900469E-C77B-4E2A-9895-4EFCC10F7911}">
      <dgm:prSet phldrT="[Text]"/>
      <dgm:spPr/>
      <dgm:t>
        <a:bodyPr/>
        <a:lstStyle/>
        <a:p>
          <a:r>
            <a:rPr lang="en-US" b="0" i="0" dirty="0"/>
            <a:t>Uncertain whether starting </a:t>
          </a:r>
          <a:r>
            <a:rPr lang="en-US" b="0" i="0" dirty="0" err="1"/>
            <a:t>remdesivir</a:t>
          </a:r>
          <a:r>
            <a:rPr lang="en-US" b="0" i="0" dirty="0"/>
            <a:t> confers clinical benefit</a:t>
          </a:r>
          <a:endParaRPr lang="en-US" dirty="0"/>
        </a:p>
      </dgm:t>
    </dgm:pt>
    <dgm:pt modelId="{B7DEDB97-5861-440F-87D5-6B642A68DFC5}" type="parTrans" cxnId="{7F55DEB3-2FFD-4C17-8D77-A072849B616A}">
      <dgm:prSet/>
      <dgm:spPr/>
      <dgm:t>
        <a:bodyPr/>
        <a:lstStyle/>
        <a:p>
          <a:endParaRPr lang="en-US"/>
        </a:p>
      </dgm:t>
    </dgm:pt>
    <dgm:pt modelId="{8F940629-189D-44A4-8301-3C748C3E0490}" type="sibTrans" cxnId="{7F55DEB3-2FFD-4C17-8D77-A072849B616A}">
      <dgm:prSet/>
      <dgm:spPr/>
      <dgm:t>
        <a:bodyPr/>
        <a:lstStyle/>
        <a:p>
          <a:endParaRPr lang="en-US"/>
        </a:p>
      </dgm:t>
    </dgm:pt>
    <dgm:pt modelId="{96F201B5-79B5-4CE5-B937-2E41304691E4}">
      <dgm:prSet phldrT="[Text]"/>
      <dgm:spPr/>
      <dgm:t>
        <a:bodyPr/>
        <a:lstStyle/>
        <a:p>
          <a:r>
            <a:rPr lang="en-US" b="0" i="0" dirty="0"/>
            <a:t>If a patient progresses to requiring HF O2, noninvasive or invasive mechanical ventilation, or ECMO, course should be completed</a:t>
          </a:r>
          <a:endParaRPr lang="en-US" dirty="0"/>
        </a:p>
      </dgm:t>
    </dgm:pt>
    <dgm:pt modelId="{50C175AC-0945-4A46-8251-D7561B6A4E84}" type="parTrans" cxnId="{304E4559-F4D1-40F3-B203-C264A8B5057C}">
      <dgm:prSet/>
      <dgm:spPr/>
      <dgm:t>
        <a:bodyPr/>
        <a:lstStyle/>
        <a:p>
          <a:endParaRPr lang="en-US"/>
        </a:p>
      </dgm:t>
    </dgm:pt>
    <dgm:pt modelId="{7913AF85-873B-402F-B5AF-7470D6F2772A}" type="sibTrans" cxnId="{304E4559-F4D1-40F3-B203-C264A8B5057C}">
      <dgm:prSet/>
      <dgm:spPr/>
      <dgm:t>
        <a:bodyPr/>
        <a:lstStyle/>
        <a:p>
          <a:endParaRPr lang="en-US"/>
        </a:p>
      </dgm:t>
    </dgm:pt>
    <dgm:pt modelId="{E5007F74-D412-479C-8DB1-7332EED752AA}">
      <dgm:prSet phldrT="[Text]"/>
      <dgm:spPr/>
      <dgm:t>
        <a:bodyPr/>
        <a:lstStyle/>
        <a:p>
          <a:r>
            <a:rPr lang="en-US" b="0" i="0" dirty="0"/>
            <a:t>Cannot make a recommendation for or against starting </a:t>
          </a:r>
          <a:r>
            <a:rPr lang="en-US" b="0" i="0" dirty="0" err="1"/>
            <a:t>remdesivir</a:t>
          </a:r>
          <a:endParaRPr lang="en-US" dirty="0"/>
        </a:p>
      </dgm:t>
    </dgm:pt>
    <dgm:pt modelId="{65FDF783-1889-434D-8556-1FD492853058}" type="parTrans" cxnId="{4E9B5655-8A8A-4F6B-80BC-08FB03E13D60}">
      <dgm:prSet/>
      <dgm:spPr/>
      <dgm:t>
        <a:bodyPr/>
        <a:lstStyle/>
        <a:p>
          <a:endParaRPr lang="en-US"/>
        </a:p>
      </dgm:t>
    </dgm:pt>
    <dgm:pt modelId="{D4113846-8B5B-4CC7-B8C4-6C268653162B}" type="sibTrans" cxnId="{4E9B5655-8A8A-4F6B-80BC-08FB03E13D60}">
      <dgm:prSet/>
      <dgm:spPr/>
      <dgm:t>
        <a:bodyPr/>
        <a:lstStyle/>
        <a:p>
          <a:endParaRPr lang="en-US"/>
        </a:p>
      </dgm:t>
    </dgm:pt>
    <dgm:pt modelId="{7280CE32-6474-455D-9A35-053EB2E94A4C}" type="pres">
      <dgm:prSet presAssocID="{5D9F371C-6F74-4397-8012-F8E700C5D858}" presName="Name0" presStyleCnt="0">
        <dgm:presLayoutVars>
          <dgm:dir/>
          <dgm:animLvl val="lvl"/>
          <dgm:resizeHandles val="exact"/>
        </dgm:presLayoutVars>
      </dgm:prSet>
      <dgm:spPr/>
    </dgm:pt>
    <dgm:pt modelId="{5441F76F-C8E3-441D-BDFD-5810A2218ACC}" type="pres">
      <dgm:prSet presAssocID="{BC7304A7-3964-47BD-BC70-83E5E91DA9CA}" presName="linNode" presStyleCnt="0"/>
      <dgm:spPr/>
    </dgm:pt>
    <dgm:pt modelId="{46B6FD9F-CDAE-440B-8B71-A9F97A7F8AB8}" type="pres">
      <dgm:prSet presAssocID="{BC7304A7-3964-47BD-BC70-83E5E91DA9CA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18CE44F8-B5F7-495A-B5DB-0D9BC8EB2223}" type="pres">
      <dgm:prSet presAssocID="{BC7304A7-3964-47BD-BC70-83E5E91DA9CA}" presName="descendantText" presStyleLbl="alignAccFollowNode1" presStyleIdx="0" presStyleCnt="3">
        <dgm:presLayoutVars>
          <dgm:bulletEnabled val="1"/>
        </dgm:presLayoutVars>
      </dgm:prSet>
      <dgm:spPr/>
    </dgm:pt>
    <dgm:pt modelId="{C1474182-2BF1-439F-B14E-2D9FCA85EC2D}" type="pres">
      <dgm:prSet presAssocID="{74AF253F-7871-4ECA-B928-A8013D26894B}" presName="sp" presStyleCnt="0"/>
      <dgm:spPr/>
    </dgm:pt>
    <dgm:pt modelId="{1F8645A0-3E8A-4FC2-B0AF-D73B3D65530C}" type="pres">
      <dgm:prSet presAssocID="{C90C2F97-8CCF-4C93-869A-2B8C9E92DD94}" presName="linNode" presStyleCnt="0"/>
      <dgm:spPr/>
    </dgm:pt>
    <dgm:pt modelId="{47D98AEC-2AEB-4FFF-B8AC-C298AFD0E0AB}" type="pres">
      <dgm:prSet presAssocID="{C90C2F97-8CCF-4C93-869A-2B8C9E92DD94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6D2DE250-D7FD-4F5A-BDAC-D4EC7A5A5D0D}" type="pres">
      <dgm:prSet presAssocID="{C90C2F97-8CCF-4C93-869A-2B8C9E92DD94}" presName="descendantText" presStyleLbl="alignAccFollowNode1" presStyleIdx="1" presStyleCnt="3">
        <dgm:presLayoutVars>
          <dgm:bulletEnabled val="1"/>
        </dgm:presLayoutVars>
      </dgm:prSet>
      <dgm:spPr/>
    </dgm:pt>
    <dgm:pt modelId="{29A237B0-A1DB-40C0-8AEF-854D9D3C546E}" type="pres">
      <dgm:prSet presAssocID="{B7310846-8607-4604-8297-86BE8E8B8B2E}" presName="sp" presStyleCnt="0"/>
      <dgm:spPr/>
    </dgm:pt>
    <dgm:pt modelId="{73439288-62D3-4962-9CB6-F3427E60FF92}" type="pres">
      <dgm:prSet presAssocID="{07E66522-D958-4F02-B788-9E73F5B148D7}" presName="linNode" presStyleCnt="0"/>
      <dgm:spPr/>
    </dgm:pt>
    <dgm:pt modelId="{CD985EDD-94F3-47DD-862C-41EA4BDD4F7C}" type="pres">
      <dgm:prSet presAssocID="{07E66522-D958-4F02-B788-9E73F5B148D7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A2DDE651-2D60-46F6-A5E2-5DB1F5AC7421}" type="pres">
      <dgm:prSet presAssocID="{07E66522-D958-4F02-B788-9E73F5B148D7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2962DD1E-F0D4-44A3-9C64-85D1DE9A2B4C}" type="presOf" srcId="{07E66522-D958-4F02-B788-9E73F5B148D7}" destId="{CD985EDD-94F3-47DD-862C-41EA4BDD4F7C}" srcOrd="0" destOrd="0" presId="urn:microsoft.com/office/officeart/2005/8/layout/vList5"/>
    <dgm:cxn modelId="{EA82B11F-0D6F-4DFF-84AF-350BED9BB79D}" type="presOf" srcId="{1DE584FA-06E9-49B0-A114-7B92F7228B3F}" destId="{18CE44F8-B5F7-495A-B5DB-0D9BC8EB2223}" srcOrd="0" destOrd="0" presId="urn:microsoft.com/office/officeart/2005/8/layout/vList5"/>
    <dgm:cxn modelId="{B26E0D28-063E-45C5-9763-84CFFCF77A0E}" srcId="{C90C2F97-8CCF-4C93-869A-2B8C9E92DD94}" destId="{F4942DD5-61E7-42D3-A638-1E1F73D94857}" srcOrd="1" destOrd="0" parTransId="{C51A6192-4EDB-41BB-BB65-20D4DEC7F1CA}" sibTransId="{F5848FC7-F9FC-44A5-B37C-87690493A310}"/>
    <dgm:cxn modelId="{3205DA2B-9701-413D-9CB0-711E2C231B7A}" type="presOf" srcId="{E7F3A749-9E3E-4D04-B49F-4427774FCE74}" destId="{18CE44F8-B5F7-495A-B5DB-0D9BC8EB2223}" srcOrd="0" destOrd="1" presId="urn:microsoft.com/office/officeart/2005/8/layout/vList5"/>
    <dgm:cxn modelId="{0658AA40-348F-4644-8F21-6337D408E7E3}" type="presOf" srcId="{C90C2F97-8CCF-4C93-869A-2B8C9E92DD94}" destId="{47D98AEC-2AEB-4FFF-B8AC-C298AFD0E0AB}" srcOrd="0" destOrd="0" presId="urn:microsoft.com/office/officeart/2005/8/layout/vList5"/>
    <dgm:cxn modelId="{7898CE40-E0D0-4DBE-9D29-728AE615491B}" type="presOf" srcId="{E5007F74-D412-479C-8DB1-7332EED752AA}" destId="{A2DDE651-2D60-46F6-A5E2-5DB1F5AC7421}" srcOrd="0" destOrd="2" presId="urn:microsoft.com/office/officeart/2005/8/layout/vList5"/>
    <dgm:cxn modelId="{54F8B04D-7DDC-49CE-92E0-9835B3A1730F}" srcId="{BC7304A7-3964-47BD-BC70-83E5E91DA9CA}" destId="{1DE584FA-06E9-49B0-A114-7B92F7228B3F}" srcOrd="0" destOrd="0" parTransId="{9C7F5B6C-CB92-488C-BEEA-FA7B024945A0}" sibTransId="{0FC04220-2233-446A-BF9A-819C4B528ECA}"/>
    <dgm:cxn modelId="{3E05A44F-02C5-46AB-86D7-5D3106AF2139}" srcId="{C90C2F97-8CCF-4C93-869A-2B8C9E92DD94}" destId="{CB6EC4F6-E220-4825-A99B-B7D82277FF4F}" srcOrd="0" destOrd="0" parTransId="{9DFC6B58-918B-4915-BB2F-CB74F5E439E8}" sibTransId="{C02CBCB1-7CFA-4E23-8061-08CB42C2C93A}"/>
    <dgm:cxn modelId="{4E9B5655-8A8A-4F6B-80BC-08FB03E13D60}" srcId="{07E66522-D958-4F02-B788-9E73F5B148D7}" destId="{E5007F74-D412-479C-8DB1-7332EED752AA}" srcOrd="2" destOrd="0" parTransId="{65FDF783-1889-434D-8556-1FD492853058}" sibTransId="{D4113846-8B5B-4CC7-B8C4-6C268653162B}"/>
    <dgm:cxn modelId="{A9267756-AE87-41A1-8A44-65588D598A00}" type="presOf" srcId="{BF892FF2-1DDD-41E4-AF9F-233E7D103C42}" destId="{A2DDE651-2D60-46F6-A5E2-5DB1F5AC7421}" srcOrd="0" destOrd="0" presId="urn:microsoft.com/office/officeart/2005/8/layout/vList5"/>
    <dgm:cxn modelId="{304E4559-F4D1-40F3-B203-C264A8B5057C}" srcId="{C90C2F97-8CCF-4C93-869A-2B8C9E92DD94}" destId="{96F201B5-79B5-4CE5-B937-2E41304691E4}" srcOrd="2" destOrd="0" parTransId="{50C175AC-0945-4A46-8251-D7561B6A4E84}" sibTransId="{7913AF85-873B-402F-B5AF-7470D6F2772A}"/>
    <dgm:cxn modelId="{A4FDC76B-62DA-4B19-90D9-10568BD0A623}" srcId="{5D9F371C-6F74-4397-8012-F8E700C5D858}" destId="{BC7304A7-3964-47BD-BC70-83E5E91DA9CA}" srcOrd="0" destOrd="0" parTransId="{65F8A3C7-97C4-42D1-950D-D2A5A27FE9C5}" sibTransId="{74AF253F-7871-4ECA-B928-A8013D26894B}"/>
    <dgm:cxn modelId="{C4C1F870-E197-4B9E-AD23-D99E1D59E897}" type="presOf" srcId="{96F201B5-79B5-4CE5-B937-2E41304691E4}" destId="{6D2DE250-D7FD-4F5A-BDAC-D4EC7A5A5D0D}" srcOrd="0" destOrd="2" presId="urn:microsoft.com/office/officeart/2005/8/layout/vList5"/>
    <dgm:cxn modelId="{17CA0C97-5491-4D3A-858B-4DD331462291}" type="presOf" srcId="{E900469E-C77B-4E2A-9895-4EFCC10F7911}" destId="{A2DDE651-2D60-46F6-A5E2-5DB1F5AC7421}" srcOrd="0" destOrd="1" presId="urn:microsoft.com/office/officeart/2005/8/layout/vList5"/>
    <dgm:cxn modelId="{454A529D-FCA6-40DB-9317-3C09102DCA99}" srcId="{5D9F371C-6F74-4397-8012-F8E700C5D858}" destId="{C90C2F97-8CCF-4C93-869A-2B8C9E92DD94}" srcOrd="1" destOrd="0" parTransId="{97F2FD20-5DC1-4D41-B4C9-36D70AF45AF3}" sibTransId="{B7310846-8607-4604-8297-86BE8E8B8B2E}"/>
    <dgm:cxn modelId="{A503259E-3FF7-458A-95CF-A78E0B5A0242}" srcId="{5D9F371C-6F74-4397-8012-F8E700C5D858}" destId="{07E66522-D958-4F02-B788-9E73F5B148D7}" srcOrd="2" destOrd="0" parTransId="{9522882E-532C-44DB-B8A5-796F9C3CBF15}" sibTransId="{B0492B81-77BF-4324-ABA2-70D9F6F0E685}"/>
    <dgm:cxn modelId="{145E8B9F-2F5E-46CF-8E93-77E299C86AFA}" srcId="{BC7304A7-3964-47BD-BC70-83E5E91DA9CA}" destId="{E7F3A749-9E3E-4D04-B49F-4427774FCE74}" srcOrd="1" destOrd="0" parTransId="{DBA88699-387D-42A7-8FBB-E105D1462CEA}" sibTransId="{151C476D-B9C3-4114-90B3-11944F041D78}"/>
    <dgm:cxn modelId="{A78E80A2-800B-4367-A610-8BC0822BD532}" type="presOf" srcId="{F4942DD5-61E7-42D3-A638-1E1F73D94857}" destId="{6D2DE250-D7FD-4F5A-BDAC-D4EC7A5A5D0D}" srcOrd="0" destOrd="1" presId="urn:microsoft.com/office/officeart/2005/8/layout/vList5"/>
    <dgm:cxn modelId="{AE1BF8AF-B2DC-4BA0-A16F-61E4EFFB9AFC}" type="presOf" srcId="{CB6EC4F6-E220-4825-A99B-B7D82277FF4F}" destId="{6D2DE250-D7FD-4F5A-BDAC-D4EC7A5A5D0D}" srcOrd="0" destOrd="0" presId="urn:microsoft.com/office/officeart/2005/8/layout/vList5"/>
    <dgm:cxn modelId="{7F55DEB3-2FFD-4C17-8D77-A072849B616A}" srcId="{07E66522-D958-4F02-B788-9E73F5B148D7}" destId="{E900469E-C77B-4E2A-9895-4EFCC10F7911}" srcOrd="1" destOrd="0" parTransId="{B7DEDB97-5861-440F-87D5-6B642A68DFC5}" sibTransId="{8F940629-189D-44A4-8301-3C748C3E0490}"/>
    <dgm:cxn modelId="{8EBD99B5-885F-49E3-A78C-A0DB47FEF38F}" type="presOf" srcId="{BC7304A7-3964-47BD-BC70-83E5E91DA9CA}" destId="{46B6FD9F-CDAE-440B-8B71-A9F97A7F8AB8}" srcOrd="0" destOrd="0" presId="urn:microsoft.com/office/officeart/2005/8/layout/vList5"/>
    <dgm:cxn modelId="{D10AE3C0-B4B6-4F73-BCC9-7E7E2C161C61}" type="presOf" srcId="{5D9F371C-6F74-4397-8012-F8E700C5D858}" destId="{7280CE32-6474-455D-9A35-053EB2E94A4C}" srcOrd="0" destOrd="0" presId="urn:microsoft.com/office/officeart/2005/8/layout/vList5"/>
    <dgm:cxn modelId="{F11F54C5-A30B-455E-8375-4FDED3011B1E}" srcId="{07E66522-D958-4F02-B788-9E73F5B148D7}" destId="{BF892FF2-1DDD-41E4-AF9F-233E7D103C42}" srcOrd="0" destOrd="0" parTransId="{241C5D28-4982-4A55-959D-D49AA4393880}" sibTransId="{20048F79-AD7C-41ED-B4F3-6E048F9894FC}"/>
    <dgm:cxn modelId="{1846A666-7541-449A-9D54-DC3752D9DF4F}" type="presParOf" srcId="{7280CE32-6474-455D-9A35-053EB2E94A4C}" destId="{5441F76F-C8E3-441D-BDFD-5810A2218ACC}" srcOrd="0" destOrd="0" presId="urn:microsoft.com/office/officeart/2005/8/layout/vList5"/>
    <dgm:cxn modelId="{AEC808D2-403F-4924-853B-2455623DB119}" type="presParOf" srcId="{5441F76F-C8E3-441D-BDFD-5810A2218ACC}" destId="{46B6FD9F-CDAE-440B-8B71-A9F97A7F8AB8}" srcOrd="0" destOrd="0" presId="urn:microsoft.com/office/officeart/2005/8/layout/vList5"/>
    <dgm:cxn modelId="{321789FA-8A48-4387-BFD2-4BD984331761}" type="presParOf" srcId="{5441F76F-C8E3-441D-BDFD-5810A2218ACC}" destId="{18CE44F8-B5F7-495A-B5DB-0D9BC8EB2223}" srcOrd="1" destOrd="0" presId="urn:microsoft.com/office/officeart/2005/8/layout/vList5"/>
    <dgm:cxn modelId="{8725D8A2-7339-456D-8B8F-3CC39344C297}" type="presParOf" srcId="{7280CE32-6474-455D-9A35-053EB2E94A4C}" destId="{C1474182-2BF1-439F-B14E-2D9FCA85EC2D}" srcOrd="1" destOrd="0" presId="urn:microsoft.com/office/officeart/2005/8/layout/vList5"/>
    <dgm:cxn modelId="{738242B8-DA49-46B3-AD88-C5BBA9BEC7D9}" type="presParOf" srcId="{7280CE32-6474-455D-9A35-053EB2E94A4C}" destId="{1F8645A0-3E8A-4FC2-B0AF-D73B3D65530C}" srcOrd="2" destOrd="0" presId="urn:microsoft.com/office/officeart/2005/8/layout/vList5"/>
    <dgm:cxn modelId="{1DA0E88D-36DA-4DB1-8CBF-71E4BFA3D868}" type="presParOf" srcId="{1F8645A0-3E8A-4FC2-B0AF-D73B3D65530C}" destId="{47D98AEC-2AEB-4FFF-B8AC-C298AFD0E0AB}" srcOrd="0" destOrd="0" presId="urn:microsoft.com/office/officeart/2005/8/layout/vList5"/>
    <dgm:cxn modelId="{F2E530FB-6057-4C82-A050-FA66B84F326C}" type="presParOf" srcId="{1F8645A0-3E8A-4FC2-B0AF-D73B3D65530C}" destId="{6D2DE250-D7FD-4F5A-BDAC-D4EC7A5A5D0D}" srcOrd="1" destOrd="0" presId="urn:microsoft.com/office/officeart/2005/8/layout/vList5"/>
    <dgm:cxn modelId="{48449846-2B30-4D72-A2AB-A8966AE719FF}" type="presParOf" srcId="{7280CE32-6474-455D-9A35-053EB2E94A4C}" destId="{29A237B0-A1DB-40C0-8AEF-854D9D3C546E}" srcOrd="3" destOrd="0" presId="urn:microsoft.com/office/officeart/2005/8/layout/vList5"/>
    <dgm:cxn modelId="{6E8BAE0D-CC15-4A0B-8551-83D37BE299B4}" type="presParOf" srcId="{7280CE32-6474-455D-9A35-053EB2E94A4C}" destId="{73439288-62D3-4962-9CB6-F3427E60FF92}" srcOrd="4" destOrd="0" presId="urn:microsoft.com/office/officeart/2005/8/layout/vList5"/>
    <dgm:cxn modelId="{BB46508C-6001-4475-9E13-DDCD8B9E7C5E}" type="presParOf" srcId="{73439288-62D3-4962-9CB6-F3427E60FF92}" destId="{CD985EDD-94F3-47DD-862C-41EA4BDD4F7C}" srcOrd="0" destOrd="0" presId="urn:microsoft.com/office/officeart/2005/8/layout/vList5"/>
    <dgm:cxn modelId="{11585CB3-CF48-45D2-8774-3262B2B7E198}" type="presParOf" srcId="{73439288-62D3-4962-9CB6-F3427E60FF92}" destId="{A2DDE651-2D60-46F6-A5E2-5DB1F5AC742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6867572-A996-0D47-874C-154FC4BEB89B}" type="doc">
      <dgm:prSet loTypeId="urn:microsoft.com/office/officeart/2008/layout/PictureStrips" loCatId="list" qsTypeId="urn:microsoft.com/office/officeart/2005/8/quickstyle/3d9" qsCatId="3D" csTypeId="urn:microsoft.com/office/officeart/2005/8/colors/colorful5" csCatId="colorful" phldr="1"/>
      <dgm:spPr/>
    </dgm:pt>
    <dgm:pt modelId="{65F22BE8-C66D-5D44-A9FC-0933BB1C03BE}">
      <dgm:prSet phldrT="[Text]"/>
      <dgm:spPr/>
      <dgm:t>
        <a:bodyPr/>
        <a:lstStyle/>
        <a:p>
          <a:r>
            <a:rPr lang="en-US" dirty="0"/>
            <a:t>Regeneron Anti-Spike Ambulatory and Inpatient</a:t>
          </a:r>
        </a:p>
      </dgm:t>
    </dgm:pt>
    <dgm:pt modelId="{499A2289-C082-7040-9EF4-72EEA5A139EE}" type="parTrans" cxnId="{34880076-42EC-3E46-8ED9-A17EB346BD16}">
      <dgm:prSet/>
      <dgm:spPr/>
      <dgm:t>
        <a:bodyPr/>
        <a:lstStyle/>
        <a:p>
          <a:endParaRPr lang="en-US"/>
        </a:p>
      </dgm:t>
    </dgm:pt>
    <dgm:pt modelId="{690BEB86-D406-BE45-86CD-0A3C3C6744B6}" type="sibTrans" cxnId="{34880076-42EC-3E46-8ED9-A17EB346BD16}">
      <dgm:prSet/>
      <dgm:spPr/>
      <dgm:t>
        <a:bodyPr/>
        <a:lstStyle/>
        <a:p>
          <a:endParaRPr lang="en-US"/>
        </a:p>
      </dgm:t>
    </dgm:pt>
    <dgm:pt modelId="{06406F63-4F65-6048-8102-11750981DBED}">
      <dgm:prSet phldrT="[Text]"/>
      <dgm:spPr/>
      <dgm:t>
        <a:bodyPr/>
        <a:lstStyle/>
        <a:p>
          <a:r>
            <a:rPr lang="en-US" dirty="0" err="1"/>
            <a:t>CytoDyn</a:t>
          </a:r>
          <a:endParaRPr lang="en-US" dirty="0"/>
        </a:p>
      </dgm:t>
    </dgm:pt>
    <dgm:pt modelId="{9566D2CB-1C47-134C-AAF5-3CD9586E27BC}" type="parTrans" cxnId="{E9A23E06-BA92-5E4D-A572-E59389FC70F5}">
      <dgm:prSet/>
      <dgm:spPr/>
      <dgm:t>
        <a:bodyPr/>
        <a:lstStyle/>
        <a:p>
          <a:endParaRPr lang="en-US"/>
        </a:p>
      </dgm:t>
    </dgm:pt>
    <dgm:pt modelId="{CB662019-3DCE-9E46-A4BC-F90119869065}" type="sibTrans" cxnId="{E9A23E06-BA92-5E4D-A572-E59389FC70F5}">
      <dgm:prSet/>
      <dgm:spPr/>
      <dgm:t>
        <a:bodyPr/>
        <a:lstStyle/>
        <a:p>
          <a:endParaRPr lang="en-US"/>
        </a:p>
      </dgm:t>
    </dgm:pt>
    <dgm:pt modelId="{7F27D224-7046-0F41-8964-12CE3B113285}">
      <dgm:prSet phldrT="[Text]"/>
      <dgm:spPr/>
      <dgm:t>
        <a:bodyPr/>
        <a:lstStyle/>
        <a:p>
          <a:r>
            <a:rPr lang="en-US" dirty="0" err="1"/>
            <a:t>Baricitinib</a:t>
          </a:r>
          <a:endParaRPr lang="en-US" dirty="0"/>
        </a:p>
      </dgm:t>
    </dgm:pt>
    <dgm:pt modelId="{F894D701-6A4C-094C-A220-3B8448D00194}" type="parTrans" cxnId="{4516B799-305E-2A45-AC3D-66D23B50330E}">
      <dgm:prSet/>
      <dgm:spPr/>
      <dgm:t>
        <a:bodyPr/>
        <a:lstStyle/>
        <a:p>
          <a:endParaRPr lang="en-US"/>
        </a:p>
      </dgm:t>
    </dgm:pt>
    <dgm:pt modelId="{9D02DEF3-DEBD-4144-AA18-3EF81A78C486}" type="sibTrans" cxnId="{4516B799-305E-2A45-AC3D-66D23B50330E}">
      <dgm:prSet/>
      <dgm:spPr/>
      <dgm:t>
        <a:bodyPr/>
        <a:lstStyle/>
        <a:p>
          <a:endParaRPr lang="en-US"/>
        </a:p>
      </dgm:t>
    </dgm:pt>
    <dgm:pt modelId="{35F79D03-3BE9-B54D-A994-E024E5628439}">
      <dgm:prSet phldrT="[Text]"/>
      <dgm:spPr/>
      <dgm:t>
        <a:bodyPr/>
        <a:lstStyle/>
        <a:p>
          <a:r>
            <a:rPr lang="en-US" dirty="0"/>
            <a:t>Roche EMPACTA</a:t>
          </a:r>
        </a:p>
      </dgm:t>
    </dgm:pt>
    <dgm:pt modelId="{8AA9566D-A016-C649-830D-7BE42BF967C4}" type="parTrans" cxnId="{A2441ADA-E580-8244-A6EE-53A6B4EC5C19}">
      <dgm:prSet/>
      <dgm:spPr/>
      <dgm:t>
        <a:bodyPr/>
        <a:lstStyle/>
        <a:p>
          <a:endParaRPr lang="en-US"/>
        </a:p>
      </dgm:t>
    </dgm:pt>
    <dgm:pt modelId="{669EFE17-6248-B648-A3F9-4775F67A3B0D}" type="sibTrans" cxnId="{A2441ADA-E580-8244-A6EE-53A6B4EC5C19}">
      <dgm:prSet/>
      <dgm:spPr/>
      <dgm:t>
        <a:bodyPr/>
        <a:lstStyle/>
        <a:p>
          <a:endParaRPr lang="en-US"/>
        </a:p>
      </dgm:t>
    </dgm:pt>
    <dgm:pt modelId="{FF63DA30-13EC-4349-885B-91AD4C24FD85}">
      <dgm:prSet phldrT="[Text]"/>
      <dgm:spPr/>
      <dgm:t>
        <a:bodyPr/>
        <a:lstStyle/>
        <a:p>
          <a:r>
            <a:rPr lang="en-US" dirty="0" err="1"/>
            <a:t>NeuroRx</a:t>
          </a:r>
          <a:endParaRPr lang="en-US" dirty="0"/>
        </a:p>
      </dgm:t>
    </dgm:pt>
    <dgm:pt modelId="{1FC429D8-6BF1-F44B-B942-E8CBD992FA1F}" type="parTrans" cxnId="{89196FDF-3FF0-254A-9250-1B083AFE12B6}">
      <dgm:prSet/>
      <dgm:spPr/>
      <dgm:t>
        <a:bodyPr/>
        <a:lstStyle/>
        <a:p>
          <a:endParaRPr lang="en-US"/>
        </a:p>
      </dgm:t>
    </dgm:pt>
    <dgm:pt modelId="{133E88D0-247C-F548-ABAE-80EECF2211DB}" type="sibTrans" cxnId="{89196FDF-3FF0-254A-9250-1B083AFE12B6}">
      <dgm:prSet/>
      <dgm:spPr/>
      <dgm:t>
        <a:bodyPr/>
        <a:lstStyle/>
        <a:p>
          <a:endParaRPr lang="en-US"/>
        </a:p>
      </dgm:t>
    </dgm:pt>
    <dgm:pt modelId="{8C66773E-3B5E-DD48-B8FB-D359564EB04B}">
      <dgm:prSet phldrT="[Text]"/>
      <dgm:spPr/>
      <dgm:t>
        <a:bodyPr/>
        <a:lstStyle/>
        <a:p>
          <a:r>
            <a:rPr lang="en-US" dirty="0"/>
            <a:t>Genentech</a:t>
          </a:r>
        </a:p>
      </dgm:t>
    </dgm:pt>
    <dgm:pt modelId="{630E5849-DD0F-664E-B104-AAD35E58C566}" type="parTrans" cxnId="{24A0710D-038B-AE4A-8FF5-397A157B6E22}">
      <dgm:prSet/>
      <dgm:spPr/>
      <dgm:t>
        <a:bodyPr/>
        <a:lstStyle/>
        <a:p>
          <a:endParaRPr lang="en-US"/>
        </a:p>
      </dgm:t>
    </dgm:pt>
    <dgm:pt modelId="{6BD2AA9D-E4AD-A140-B208-0C723F71ACA0}" type="sibTrans" cxnId="{24A0710D-038B-AE4A-8FF5-397A157B6E22}">
      <dgm:prSet/>
      <dgm:spPr/>
      <dgm:t>
        <a:bodyPr/>
        <a:lstStyle/>
        <a:p>
          <a:endParaRPr lang="en-US"/>
        </a:p>
      </dgm:t>
    </dgm:pt>
    <dgm:pt modelId="{BF660172-207E-E043-B042-7872ECD97B75}">
      <dgm:prSet phldrT="[Text]"/>
      <dgm:spPr/>
      <dgm:t>
        <a:bodyPr/>
        <a:lstStyle/>
        <a:p>
          <a:r>
            <a:rPr lang="en-US" dirty="0" err="1"/>
            <a:t>Avita</a:t>
          </a:r>
          <a:endParaRPr lang="en-US" dirty="0"/>
        </a:p>
      </dgm:t>
    </dgm:pt>
    <dgm:pt modelId="{BEB8E1B8-D00C-8249-B19D-722DCD07411A}" type="parTrans" cxnId="{8C64BF11-44C6-1A49-8E79-B7DD95B67403}">
      <dgm:prSet/>
      <dgm:spPr/>
      <dgm:t>
        <a:bodyPr/>
        <a:lstStyle/>
        <a:p>
          <a:endParaRPr lang="en-US"/>
        </a:p>
      </dgm:t>
    </dgm:pt>
    <dgm:pt modelId="{9529AD5D-F63A-6347-BF25-70C39363F472}" type="sibTrans" cxnId="{8C64BF11-44C6-1A49-8E79-B7DD95B67403}">
      <dgm:prSet/>
      <dgm:spPr/>
      <dgm:t>
        <a:bodyPr/>
        <a:lstStyle/>
        <a:p>
          <a:endParaRPr lang="en-US"/>
        </a:p>
      </dgm:t>
    </dgm:pt>
    <dgm:pt modelId="{F19F9DD2-AAEE-3649-8FA3-DC4DD98C8671}">
      <dgm:prSet phldrT="[Text]"/>
      <dgm:spPr/>
      <dgm:t>
        <a:bodyPr/>
        <a:lstStyle/>
        <a:p>
          <a:r>
            <a:rPr lang="en-US" dirty="0" err="1"/>
            <a:t>BeiGene</a:t>
          </a:r>
          <a:endParaRPr lang="en-US" dirty="0"/>
        </a:p>
      </dgm:t>
    </dgm:pt>
    <dgm:pt modelId="{910DF15B-6650-C347-836C-99A57CE156D0}" type="parTrans" cxnId="{7F10D6CD-B55E-7444-8C6C-DDCA7F371DC6}">
      <dgm:prSet/>
      <dgm:spPr/>
      <dgm:t>
        <a:bodyPr/>
        <a:lstStyle/>
        <a:p>
          <a:endParaRPr lang="en-US"/>
        </a:p>
      </dgm:t>
    </dgm:pt>
    <dgm:pt modelId="{9D9F490C-491E-EC4D-BB5A-2765AF25020B}" type="sibTrans" cxnId="{7F10D6CD-B55E-7444-8C6C-DDCA7F371DC6}">
      <dgm:prSet/>
      <dgm:spPr/>
      <dgm:t>
        <a:bodyPr/>
        <a:lstStyle/>
        <a:p>
          <a:endParaRPr lang="en-US"/>
        </a:p>
      </dgm:t>
    </dgm:pt>
    <dgm:pt modelId="{B52A85EB-B0F2-064A-88D1-9080690FD651}">
      <dgm:prSet phldrT="[Text]"/>
      <dgm:spPr/>
      <dgm:t>
        <a:bodyPr/>
        <a:lstStyle/>
        <a:p>
          <a:r>
            <a:rPr lang="en-US" dirty="0"/>
            <a:t>Roche REMDACTA</a:t>
          </a:r>
        </a:p>
      </dgm:t>
    </dgm:pt>
    <dgm:pt modelId="{64A82401-7853-3A4F-B778-2253C1A8B204}" type="parTrans" cxnId="{2CABBEA8-AEF4-C04B-A5F5-B846716A8ADA}">
      <dgm:prSet/>
      <dgm:spPr/>
      <dgm:t>
        <a:bodyPr/>
        <a:lstStyle/>
        <a:p>
          <a:endParaRPr lang="en-US"/>
        </a:p>
      </dgm:t>
    </dgm:pt>
    <dgm:pt modelId="{949C2536-626F-304E-9F05-03C3A19DE921}" type="sibTrans" cxnId="{2CABBEA8-AEF4-C04B-A5F5-B846716A8ADA}">
      <dgm:prSet/>
      <dgm:spPr/>
      <dgm:t>
        <a:bodyPr/>
        <a:lstStyle/>
        <a:p>
          <a:endParaRPr lang="en-US"/>
        </a:p>
      </dgm:t>
    </dgm:pt>
    <dgm:pt modelId="{DE511A10-313D-FF43-ABD4-F7FBC74E4393}">
      <dgm:prSet phldrT="[Text]"/>
      <dgm:spPr/>
      <dgm:t>
        <a:bodyPr/>
        <a:lstStyle/>
        <a:p>
          <a:r>
            <a:rPr lang="en-US" dirty="0"/>
            <a:t>Mayo Convalescent Plasma</a:t>
          </a:r>
        </a:p>
      </dgm:t>
    </dgm:pt>
    <dgm:pt modelId="{827C5904-6111-F94C-9916-4E10CCEB877D}" type="parTrans" cxnId="{65AAF7CC-FEFC-D94E-9D36-9CFFACD348C8}">
      <dgm:prSet/>
      <dgm:spPr/>
      <dgm:t>
        <a:bodyPr/>
        <a:lstStyle/>
        <a:p>
          <a:endParaRPr lang="en-US"/>
        </a:p>
      </dgm:t>
    </dgm:pt>
    <dgm:pt modelId="{4BC4B814-1FD2-B143-8C5A-0BBFC39A7696}" type="sibTrans" cxnId="{65AAF7CC-FEFC-D94E-9D36-9CFFACD348C8}">
      <dgm:prSet/>
      <dgm:spPr/>
      <dgm:t>
        <a:bodyPr/>
        <a:lstStyle/>
        <a:p>
          <a:endParaRPr lang="en-US"/>
        </a:p>
      </dgm:t>
    </dgm:pt>
    <dgm:pt modelId="{A46E38ED-6E87-614D-9291-FB3C86ADA884}">
      <dgm:prSet phldrT="[Text]"/>
      <dgm:spPr/>
      <dgm:t>
        <a:bodyPr/>
        <a:lstStyle/>
        <a:p>
          <a:r>
            <a:rPr lang="en-US" dirty="0"/>
            <a:t>AstraZeneca CALAVI</a:t>
          </a:r>
        </a:p>
      </dgm:t>
    </dgm:pt>
    <dgm:pt modelId="{3FD9D71D-3834-6F4E-8DFA-E54A1BB4F246}" type="parTrans" cxnId="{A6A7D8D1-2198-B748-849E-08E295C9A719}">
      <dgm:prSet/>
      <dgm:spPr/>
      <dgm:t>
        <a:bodyPr/>
        <a:lstStyle/>
        <a:p>
          <a:endParaRPr lang="en-US"/>
        </a:p>
      </dgm:t>
    </dgm:pt>
    <dgm:pt modelId="{EEC4C6BB-877F-9540-8D53-A562A20050B1}" type="sibTrans" cxnId="{A6A7D8D1-2198-B748-849E-08E295C9A719}">
      <dgm:prSet/>
      <dgm:spPr/>
      <dgm:t>
        <a:bodyPr/>
        <a:lstStyle/>
        <a:p>
          <a:endParaRPr lang="en-US"/>
        </a:p>
      </dgm:t>
    </dgm:pt>
    <dgm:pt modelId="{4C6189F2-02C8-5F4C-96CB-5B324566623A}">
      <dgm:prSet phldrT="[Text]"/>
      <dgm:spPr/>
      <dgm:t>
        <a:bodyPr/>
        <a:lstStyle/>
        <a:p>
          <a:r>
            <a:rPr lang="en-US" dirty="0"/>
            <a:t>Novartis Bispecific AB</a:t>
          </a:r>
        </a:p>
      </dgm:t>
    </dgm:pt>
    <dgm:pt modelId="{2A929EB1-4FD2-9A40-B8ED-B4EE24CA505A}" type="parTrans" cxnId="{B31EF169-C4D9-894B-8F79-5FCA2FFB0647}">
      <dgm:prSet/>
      <dgm:spPr/>
      <dgm:t>
        <a:bodyPr/>
        <a:lstStyle/>
        <a:p>
          <a:endParaRPr lang="en-US"/>
        </a:p>
      </dgm:t>
    </dgm:pt>
    <dgm:pt modelId="{F8FC15D1-C9FF-A549-909B-5DEAC158774C}" type="sibTrans" cxnId="{B31EF169-C4D9-894B-8F79-5FCA2FFB0647}">
      <dgm:prSet/>
      <dgm:spPr/>
      <dgm:t>
        <a:bodyPr/>
        <a:lstStyle/>
        <a:p>
          <a:endParaRPr lang="en-US"/>
        </a:p>
      </dgm:t>
    </dgm:pt>
    <dgm:pt modelId="{FC02B661-4A8B-0044-AD73-7A00C20800E8}">
      <dgm:prSet phldrT="[Text]"/>
      <dgm:spPr/>
      <dgm:t>
        <a:bodyPr/>
        <a:lstStyle/>
        <a:p>
          <a:r>
            <a:rPr lang="en-US" dirty="0"/>
            <a:t>Monoclonal AB</a:t>
          </a:r>
        </a:p>
      </dgm:t>
    </dgm:pt>
    <dgm:pt modelId="{56F7EEF6-5DC0-7E48-ADA6-5BF206220983}" type="parTrans" cxnId="{60794751-F7A5-E44D-B382-8AE9839B4F9B}">
      <dgm:prSet/>
      <dgm:spPr/>
      <dgm:t>
        <a:bodyPr/>
        <a:lstStyle/>
        <a:p>
          <a:endParaRPr lang="en-US"/>
        </a:p>
      </dgm:t>
    </dgm:pt>
    <dgm:pt modelId="{C92E6347-F411-AB41-831B-EB44BA92B4FB}" type="sibTrans" cxnId="{60794751-F7A5-E44D-B382-8AE9839B4F9B}">
      <dgm:prSet/>
      <dgm:spPr/>
      <dgm:t>
        <a:bodyPr/>
        <a:lstStyle/>
        <a:p>
          <a:endParaRPr lang="en-US"/>
        </a:p>
      </dgm:t>
    </dgm:pt>
    <dgm:pt modelId="{9068520F-CB5E-174C-90BF-016357696D5F}">
      <dgm:prSet phldrT="[Text]"/>
      <dgm:spPr/>
      <dgm:t>
        <a:bodyPr/>
        <a:lstStyle/>
        <a:p>
          <a:r>
            <a:rPr lang="en-US" dirty="0"/>
            <a:t>2 </a:t>
          </a:r>
          <a:r>
            <a:rPr lang="en-US" dirty="0" err="1"/>
            <a:t>Monclonal</a:t>
          </a:r>
          <a:r>
            <a:rPr lang="en-US" dirty="0"/>
            <a:t> AB (non-competitive)</a:t>
          </a:r>
        </a:p>
      </dgm:t>
    </dgm:pt>
    <dgm:pt modelId="{EE910822-31CC-9940-A6A2-5875DAD34FCA}" type="parTrans" cxnId="{ED2F000E-354B-0C49-9840-5D2D65C6E858}">
      <dgm:prSet/>
      <dgm:spPr/>
      <dgm:t>
        <a:bodyPr/>
        <a:lstStyle/>
        <a:p>
          <a:endParaRPr lang="en-US"/>
        </a:p>
      </dgm:t>
    </dgm:pt>
    <dgm:pt modelId="{4E1F21A2-7387-4F4A-9F93-CF7911DD14AB}" type="sibTrans" cxnId="{ED2F000E-354B-0C49-9840-5D2D65C6E858}">
      <dgm:prSet/>
      <dgm:spPr/>
      <dgm:t>
        <a:bodyPr/>
        <a:lstStyle/>
        <a:p>
          <a:endParaRPr lang="en-US"/>
        </a:p>
      </dgm:t>
    </dgm:pt>
    <dgm:pt modelId="{D2914957-9D5C-8245-BC39-57024E4F1810}">
      <dgm:prSet phldrT="[Text]"/>
      <dgm:spPr/>
      <dgm:t>
        <a:bodyPr/>
        <a:lstStyle/>
        <a:p>
          <a:r>
            <a:rPr lang="en-US"/>
            <a:t>patient-specific dendritic cell vaccine</a:t>
          </a:r>
          <a:endParaRPr lang="en-US" dirty="0"/>
        </a:p>
      </dgm:t>
    </dgm:pt>
    <dgm:pt modelId="{411776DE-72BD-8C4D-BC2A-728E026E5109}" type="parTrans" cxnId="{FEC2CE52-F135-144C-A3F6-174AD9E5DA7B}">
      <dgm:prSet/>
      <dgm:spPr/>
      <dgm:t>
        <a:bodyPr/>
        <a:lstStyle/>
        <a:p>
          <a:endParaRPr lang="en-US"/>
        </a:p>
      </dgm:t>
    </dgm:pt>
    <dgm:pt modelId="{22DB4D24-6377-E245-B189-797CDEE2EBD8}" type="sibTrans" cxnId="{FEC2CE52-F135-144C-A3F6-174AD9E5DA7B}">
      <dgm:prSet/>
      <dgm:spPr/>
      <dgm:t>
        <a:bodyPr/>
        <a:lstStyle/>
        <a:p>
          <a:endParaRPr lang="en-US"/>
        </a:p>
      </dgm:t>
    </dgm:pt>
    <dgm:pt modelId="{5C6BE484-E307-D544-A2FC-CEC1EE68E088}">
      <dgm:prSet phldrT="[Text]"/>
      <dgm:spPr/>
      <dgm:t>
        <a:bodyPr/>
        <a:lstStyle/>
        <a:p>
          <a:r>
            <a:rPr lang="en-US"/>
            <a:t>zanubrutinib</a:t>
          </a:r>
          <a:endParaRPr lang="en-US" dirty="0"/>
        </a:p>
      </dgm:t>
    </dgm:pt>
    <dgm:pt modelId="{4AAB9B09-64F1-1346-AF8C-CC0AB5E35AD8}" type="parTrans" cxnId="{ADD2B0E2-B979-6F45-8AC1-60673876FC2F}">
      <dgm:prSet/>
      <dgm:spPr/>
      <dgm:t>
        <a:bodyPr/>
        <a:lstStyle/>
        <a:p>
          <a:endParaRPr lang="en-US"/>
        </a:p>
      </dgm:t>
    </dgm:pt>
    <dgm:pt modelId="{47A92AF1-A4EF-F24F-818D-7B12113EB6DB}" type="sibTrans" cxnId="{ADD2B0E2-B979-6F45-8AC1-60673876FC2F}">
      <dgm:prSet/>
      <dgm:spPr/>
      <dgm:t>
        <a:bodyPr/>
        <a:lstStyle/>
        <a:p>
          <a:endParaRPr lang="en-US"/>
        </a:p>
      </dgm:t>
    </dgm:pt>
    <dgm:pt modelId="{10F4F874-F34D-BD4E-9380-95ACB81F8AC7}">
      <dgm:prSet phldrT="[Text]"/>
      <dgm:spPr/>
      <dgm:t>
        <a:bodyPr/>
        <a:lstStyle/>
        <a:p>
          <a:r>
            <a:rPr lang="en-US"/>
            <a:t>selective BTK inhibitor</a:t>
          </a:r>
          <a:endParaRPr lang="en-US" dirty="0"/>
        </a:p>
      </dgm:t>
    </dgm:pt>
    <dgm:pt modelId="{54101004-B62E-F74C-8F14-B0479126B85B}" type="parTrans" cxnId="{B2F8F843-0411-BA4B-B2EC-3F754C5B3165}">
      <dgm:prSet/>
      <dgm:spPr/>
      <dgm:t>
        <a:bodyPr/>
        <a:lstStyle/>
        <a:p>
          <a:endParaRPr lang="en-US"/>
        </a:p>
      </dgm:t>
    </dgm:pt>
    <dgm:pt modelId="{D9D42E4D-34A0-AB45-B197-B29A15275D96}" type="sibTrans" cxnId="{B2F8F843-0411-BA4B-B2EC-3F754C5B3165}">
      <dgm:prSet/>
      <dgm:spPr/>
      <dgm:t>
        <a:bodyPr/>
        <a:lstStyle/>
        <a:p>
          <a:endParaRPr lang="en-US"/>
        </a:p>
      </dgm:t>
    </dgm:pt>
    <dgm:pt modelId="{28345964-9764-7E44-8B55-0EB158A9052C}">
      <dgm:prSet phldrT="[Text]"/>
      <dgm:spPr/>
      <dgm:t>
        <a:bodyPr/>
        <a:lstStyle/>
        <a:p>
          <a:r>
            <a:rPr lang="en-US" b="0" i="0" u="none" dirty="0" err="1"/>
            <a:t>Actemra</a:t>
          </a:r>
          <a:r>
            <a:rPr lang="en-US" b="0" i="0" u="none" dirty="0"/>
            <a:t>/</a:t>
          </a:r>
          <a:br>
            <a:rPr lang="en-US" b="0" i="0" u="none" dirty="0"/>
          </a:br>
          <a:r>
            <a:rPr lang="en-US" b="0" i="0" u="none" dirty="0" err="1"/>
            <a:t>RoActrema</a:t>
          </a:r>
          <a:r>
            <a:rPr lang="en-US" b="0" i="0" u="none" dirty="0"/>
            <a:t> (Anti-IL-6) plus </a:t>
          </a:r>
          <a:r>
            <a:rPr lang="en-US" b="0" i="0" u="none" dirty="0" err="1"/>
            <a:t>remdesivir</a:t>
          </a:r>
          <a:endParaRPr lang="en-US" dirty="0"/>
        </a:p>
      </dgm:t>
    </dgm:pt>
    <dgm:pt modelId="{CA9D47C7-6D68-A54B-AC9C-305DC64E661B}" type="parTrans" cxnId="{E723C9E7-B54B-2E4B-9EE3-CB863703C519}">
      <dgm:prSet/>
      <dgm:spPr/>
      <dgm:t>
        <a:bodyPr/>
        <a:lstStyle/>
        <a:p>
          <a:endParaRPr lang="en-US"/>
        </a:p>
      </dgm:t>
    </dgm:pt>
    <dgm:pt modelId="{CBF02F81-BBF3-9D4C-8D65-FCE9E1A7FE3B}" type="sibTrans" cxnId="{E723C9E7-B54B-2E4B-9EE3-CB863703C519}">
      <dgm:prSet/>
      <dgm:spPr/>
      <dgm:t>
        <a:bodyPr/>
        <a:lstStyle/>
        <a:p>
          <a:endParaRPr lang="en-US"/>
        </a:p>
      </dgm:t>
    </dgm:pt>
    <dgm:pt modelId="{DDA4C279-6CB5-3A42-93EC-3C0E6B59D718}">
      <dgm:prSet phldrT="[Text]"/>
      <dgm:spPr/>
      <dgm:t>
        <a:bodyPr/>
        <a:lstStyle/>
        <a:p>
          <a:r>
            <a:rPr lang="en-US" dirty="0"/>
            <a:t>Vasoactive Intestinal Peptide (cytokine blocker)</a:t>
          </a:r>
        </a:p>
      </dgm:t>
    </dgm:pt>
    <dgm:pt modelId="{3E937726-D3EE-364D-97EB-5A8DF3A70412}" type="parTrans" cxnId="{5C1732AC-89FF-E144-9014-89B06E167B84}">
      <dgm:prSet/>
      <dgm:spPr/>
      <dgm:t>
        <a:bodyPr/>
        <a:lstStyle/>
        <a:p>
          <a:endParaRPr lang="en-US"/>
        </a:p>
      </dgm:t>
    </dgm:pt>
    <dgm:pt modelId="{42D596A5-2091-5746-8EF5-536C8B199351}" type="sibTrans" cxnId="{5C1732AC-89FF-E144-9014-89B06E167B84}">
      <dgm:prSet/>
      <dgm:spPr/>
      <dgm:t>
        <a:bodyPr/>
        <a:lstStyle/>
        <a:p>
          <a:endParaRPr lang="en-US"/>
        </a:p>
      </dgm:t>
    </dgm:pt>
    <dgm:pt modelId="{67CA4157-DA28-554E-9F7D-F29CB77E37CE}">
      <dgm:prSet phldrT="[Text]"/>
      <dgm:spPr/>
      <dgm:t>
        <a:bodyPr/>
        <a:lstStyle/>
        <a:p>
          <a:r>
            <a:rPr lang="en-US" dirty="0"/>
            <a:t>Anti-Inflammatory JAK inhibitor</a:t>
          </a:r>
        </a:p>
      </dgm:t>
    </dgm:pt>
    <dgm:pt modelId="{BD5921B0-2EA1-1F4F-BA88-6B7A72E9033C}" type="parTrans" cxnId="{A00CA34E-362E-DC41-8C0B-B2ED6F5EC529}">
      <dgm:prSet/>
      <dgm:spPr/>
      <dgm:t>
        <a:bodyPr/>
        <a:lstStyle/>
        <a:p>
          <a:endParaRPr lang="en-US"/>
        </a:p>
      </dgm:t>
    </dgm:pt>
    <dgm:pt modelId="{A68D8F57-DCD5-0E4D-A29E-7F7F5CA2143E}" type="sibTrans" cxnId="{A00CA34E-362E-DC41-8C0B-B2ED6F5EC529}">
      <dgm:prSet/>
      <dgm:spPr/>
      <dgm:t>
        <a:bodyPr/>
        <a:lstStyle/>
        <a:p>
          <a:endParaRPr lang="en-US"/>
        </a:p>
      </dgm:t>
    </dgm:pt>
    <dgm:pt modelId="{9CF79C47-71A2-BE43-BC41-C9A543F50C32}">
      <dgm:prSet phldrT="[Text]"/>
      <dgm:spPr/>
      <dgm:t>
        <a:bodyPr/>
        <a:lstStyle/>
        <a:p>
          <a:r>
            <a:rPr lang="en-US" dirty="0" err="1"/>
            <a:t>Remdacta</a:t>
          </a:r>
          <a:r>
            <a:rPr lang="en-US" dirty="0"/>
            <a:t>/</a:t>
          </a:r>
          <a:r>
            <a:rPr lang="en-US" dirty="0" err="1"/>
            <a:t>Covacta</a:t>
          </a:r>
          <a:r>
            <a:rPr lang="en-US" dirty="0"/>
            <a:t> + </a:t>
          </a:r>
          <a:r>
            <a:rPr lang="en-US" dirty="0" err="1"/>
            <a:t>Remdesivir</a:t>
          </a:r>
          <a:endParaRPr lang="en-US" dirty="0"/>
        </a:p>
      </dgm:t>
    </dgm:pt>
    <dgm:pt modelId="{17B4B032-63F8-0F40-98BA-6679C3B2CF5C}" type="parTrans" cxnId="{6DEA665B-F142-5643-A8C8-23A73C3A6445}">
      <dgm:prSet/>
      <dgm:spPr/>
      <dgm:t>
        <a:bodyPr/>
        <a:lstStyle/>
        <a:p>
          <a:endParaRPr lang="en-US"/>
        </a:p>
      </dgm:t>
    </dgm:pt>
    <dgm:pt modelId="{E3B9307A-9914-034C-AF53-64DBDB37C71A}" type="sibTrans" cxnId="{6DEA665B-F142-5643-A8C8-23A73C3A6445}">
      <dgm:prSet/>
      <dgm:spPr/>
      <dgm:t>
        <a:bodyPr/>
        <a:lstStyle/>
        <a:p>
          <a:endParaRPr lang="en-US"/>
        </a:p>
      </dgm:t>
    </dgm:pt>
    <dgm:pt modelId="{C113DD82-5329-D64E-9E05-4D55DBEE3E11}" type="pres">
      <dgm:prSet presAssocID="{66867572-A996-0D47-874C-154FC4BEB89B}" presName="Name0" presStyleCnt="0">
        <dgm:presLayoutVars>
          <dgm:dir/>
          <dgm:resizeHandles val="exact"/>
        </dgm:presLayoutVars>
      </dgm:prSet>
      <dgm:spPr/>
    </dgm:pt>
    <dgm:pt modelId="{BBD88588-130E-D54F-9645-14344E638104}" type="pres">
      <dgm:prSet presAssocID="{65F22BE8-C66D-5D44-A9FC-0933BB1C03BE}" presName="composite" presStyleCnt="0"/>
      <dgm:spPr/>
    </dgm:pt>
    <dgm:pt modelId="{B87D9DFC-B197-D14C-85CC-83FC7C55394A}" type="pres">
      <dgm:prSet presAssocID="{65F22BE8-C66D-5D44-A9FC-0933BB1C03BE}" presName="rect1" presStyleLbl="trAlignAcc1" presStyleIdx="0" presStyleCnt="12">
        <dgm:presLayoutVars>
          <dgm:bulletEnabled val="1"/>
        </dgm:presLayoutVars>
      </dgm:prSet>
      <dgm:spPr/>
    </dgm:pt>
    <dgm:pt modelId="{1D78BBEF-20CD-1948-91D1-E1298178BFC1}" type="pres">
      <dgm:prSet presAssocID="{65F22BE8-C66D-5D44-A9FC-0933BB1C03BE}" presName="rect2" presStyleLbl="fgImgPlace1" presStyleIdx="0" presStyleCnt="12"/>
      <dgm:spPr/>
    </dgm:pt>
    <dgm:pt modelId="{E73561F8-FFB2-1441-9FEB-1B445CF7665B}" type="pres">
      <dgm:prSet presAssocID="{690BEB86-D406-BE45-86CD-0A3C3C6744B6}" presName="sibTrans" presStyleCnt="0"/>
      <dgm:spPr/>
    </dgm:pt>
    <dgm:pt modelId="{21A56AB3-3D94-D34B-88A4-5B153BFD37D8}" type="pres">
      <dgm:prSet presAssocID="{06406F63-4F65-6048-8102-11750981DBED}" presName="composite" presStyleCnt="0"/>
      <dgm:spPr/>
    </dgm:pt>
    <dgm:pt modelId="{7F15A13E-2682-6D4C-910C-D2AE764D411F}" type="pres">
      <dgm:prSet presAssocID="{06406F63-4F65-6048-8102-11750981DBED}" presName="rect1" presStyleLbl="trAlignAcc1" presStyleIdx="1" presStyleCnt="12">
        <dgm:presLayoutVars>
          <dgm:bulletEnabled val="1"/>
        </dgm:presLayoutVars>
      </dgm:prSet>
      <dgm:spPr/>
    </dgm:pt>
    <dgm:pt modelId="{C1174766-264D-9A40-8A7D-2351AB54B312}" type="pres">
      <dgm:prSet presAssocID="{06406F63-4F65-6048-8102-11750981DBED}" presName="rect2" presStyleLbl="fgImgPlace1" presStyleIdx="1" presStyleCnt="12"/>
      <dgm:spPr/>
    </dgm:pt>
    <dgm:pt modelId="{769F5071-3AF4-724D-B4DF-1234C1861A04}" type="pres">
      <dgm:prSet presAssocID="{CB662019-3DCE-9E46-A4BC-F90119869065}" presName="sibTrans" presStyleCnt="0"/>
      <dgm:spPr/>
    </dgm:pt>
    <dgm:pt modelId="{59C58F85-056F-FA41-BC3D-6189F880019A}" type="pres">
      <dgm:prSet presAssocID="{7F27D224-7046-0F41-8964-12CE3B113285}" presName="composite" presStyleCnt="0"/>
      <dgm:spPr/>
    </dgm:pt>
    <dgm:pt modelId="{A59E973D-C323-9D4E-A5D5-395FE6226D2B}" type="pres">
      <dgm:prSet presAssocID="{7F27D224-7046-0F41-8964-12CE3B113285}" presName="rect1" presStyleLbl="trAlignAcc1" presStyleIdx="2" presStyleCnt="12">
        <dgm:presLayoutVars>
          <dgm:bulletEnabled val="1"/>
        </dgm:presLayoutVars>
      </dgm:prSet>
      <dgm:spPr/>
    </dgm:pt>
    <dgm:pt modelId="{D0C29860-FCF6-8C47-991D-95F90B360F84}" type="pres">
      <dgm:prSet presAssocID="{7F27D224-7046-0F41-8964-12CE3B113285}" presName="rect2" presStyleLbl="fgImgPlace1" presStyleIdx="2" presStyleCnt="12"/>
      <dgm:spPr/>
    </dgm:pt>
    <dgm:pt modelId="{90DEC7C1-B79D-F74E-B8DE-346E54315F62}" type="pres">
      <dgm:prSet presAssocID="{9D02DEF3-DEBD-4144-AA18-3EF81A78C486}" presName="sibTrans" presStyleCnt="0"/>
      <dgm:spPr/>
    </dgm:pt>
    <dgm:pt modelId="{F70ED154-97B1-8843-ACA1-405AC3A3E502}" type="pres">
      <dgm:prSet presAssocID="{35F79D03-3BE9-B54D-A994-E024E5628439}" presName="composite" presStyleCnt="0"/>
      <dgm:spPr/>
    </dgm:pt>
    <dgm:pt modelId="{54EB4F75-F9D0-8C41-847D-3CD35D6F3B62}" type="pres">
      <dgm:prSet presAssocID="{35F79D03-3BE9-B54D-A994-E024E5628439}" presName="rect1" presStyleLbl="trAlignAcc1" presStyleIdx="3" presStyleCnt="12">
        <dgm:presLayoutVars>
          <dgm:bulletEnabled val="1"/>
        </dgm:presLayoutVars>
      </dgm:prSet>
      <dgm:spPr/>
    </dgm:pt>
    <dgm:pt modelId="{2ED8083A-9CDD-9346-85E5-416331EAE799}" type="pres">
      <dgm:prSet presAssocID="{35F79D03-3BE9-B54D-A994-E024E5628439}" presName="rect2" presStyleLbl="fgImgPlace1" presStyleIdx="3" presStyleCnt="12"/>
      <dgm:spPr/>
    </dgm:pt>
    <dgm:pt modelId="{5FDB2D52-C480-FD48-9227-E798A2D44629}" type="pres">
      <dgm:prSet presAssocID="{669EFE17-6248-B648-A3F9-4775F67A3B0D}" presName="sibTrans" presStyleCnt="0"/>
      <dgm:spPr/>
    </dgm:pt>
    <dgm:pt modelId="{D2469AA5-0ADD-EE4B-A038-EE9B5909A874}" type="pres">
      <dgm:prSet presAssocID="{FF63DA30-13EC-4349-885B-91AD4C24FD85}" presName="composite" presStyleCnt="0"/>
      <dgm:spPr/>
    </dgm:pt>
    <dgm:pt modelId="{1637EED5-4D3C-3B40-9462-9FE54E905CF6}" type="pres">
      <dgm:prSet presAssocID="{FF63DA30-13EC-4349-885B-91AD4C24FD85}" presName="rect1" presStyleLbl="trAlignAcc1" presStyleIdx="4" presStyleCnt="12">
        <dgm:presLayoutVars>
          <dgm:bulletEnabled val="1"/>
        </dgm:presLayoutVars>
      </dgm:prSet>
      <dgm:spPr/>
    </dgm:pt>
    <dgm:pt modelId="{47F01B85-BE78-D447-8FC6-3C9A44562F1C}" type="pres">
      <dgm:prSet presAssocID="{FF63DA30-13EC-4349-885B-91AD4C24FD85}" presName="rect2" presStyleLbl="fgImgPlace1" presStyleIdx="4" presStyleCnt="12"/>
      <dgm:spPr/>
    </dgm:pt>
    <dgm:pt modelId="{5A224C95-7B8C-A24F-8C8C-E00F49B7C660}" type="pres">
      <dgm:prSet presAssocID="{133E88D0-247C-F548-ABAE-80EECF2211DB}" presName="sibTrans" presStyleCnt="0"/>
      <dgm:spPr/>
    </dgm:pt>
    <dgm:pt modelId="{6DC26575-B393-E44C-8A7F-E790C56CB1A3}" type="pres">
      <dgm:prSet presAssocID="{8C66773E-3B5E-DD48-B8FB-D359564EB04B}" presName="composite" presStyleCnt="0"/>
      <dgm:spPr/>
    </dgm:pt>
    <dgm:pt modelId="{D4682E15-E7CB-5140-99A1-0AC1BC9341BF}" type="pres">
      <dgm:prSet presAssocID="{8C66773E-3B5E-DD48-B8FB-D359564EB04B}" presName="rect1" presStyleLbl="trAlignAcc1" presStyleIdx="5" presStyleCnt="12">
        <dgm:presLayoutVars>
          <dgm:bulletEnabled val="1"/>
        </dgm:presLayoutVars>
      </dgm:prSet>
      <dgm:spPr/>
    </dgm:pt>
    <dgm:pt modelId="{22EAC2D3-FC54-1C4C-A5BF-E04FCF7591AA}" type="pres">
      <dgm:prSet presAssocID="{8C66773E-3B5E-DD48-B8FB-D359564EB04B}" presName="rect2" presStyleLbl="fgImgPlace1" presStyleIdx="5" presStyleCnt="12"/>
      <dgm:spPr/>
    </dgm:pt>
    <dgm:pt modelId="{90DEF38A-5C8A-4D44-A0AD-D6E7928142E2}" type="pres">
      <dgm:prSet presAssocID="{6BD2AA9D-E4AD-A140-B208-0C723F71ACA0}" presName="sibTrans" presStyleCnt="0"/>
      <dgm:spPr/>
    </dgm:pt>
    <dgm:pt modelId="{5EADFBFE-A459-D349-A5A1-EC33ACE280F9}" type="pres">
      <dgm:prSet presAssocID="{BF660172-207E-E043-B042-7872ECD97B75}" presName="composite" presStyleCnt="0"/>
      <dgm:spPr/>
    </dgm:pt>
    <dgm:pt modelId="{3817E092-5F7D-F444-BED5-31C99385CB1D}" type="pres">
      <dgm:prSet presAssocID="{BF660172-207E-E043-B042-7872ECD97B75}" presName="rect1" presStyleLbl="trAlignAcc1" presStyleIdx="6" presStyleCnt="12">
        <dgm:presLayoutVars>
          <dgm:bulletEnabled val="1"/>
        </dgm:presLayoutVars>
      </dgm:prSet>
      <dgm:spPr/>
    </dgm:pt>
    <dgm:pt modelId="{6C162C4D-3A80-E54D-A447-DDE53F6F82A9}" type="pres">
      <dgm:prSet presAssocID="{BF660172-207E-E043-B042-7872ECD97B75}" presName="rect2" presStyleLbl="fgImgPlace1" presStyleIdx="6" presStyleCnt="12"/>
      <dgm:spPr/>
    </dgm:pt>
    <dgm:pt modelId="{022426B2-5300-7B4F-BFB2-C0ECFCF4AD0B}" type="pres">
      <dgm:prSet presAssocID="{9529AD5D-F63A-6347-BF25-70C39363F472}" presName="sibTrans" presStyleCnt="0"/>
      <dgm:spPr/>
    </dgm:pt>
    <dgm:pt modelId="{5D5011AE-7627-F146-8221-9BC9AE91728D}" type="pres">
      <dgm:prSet presAssocID="{F19F9DD2-AAEE-3649-8FA3-DC4DD98C8671}" presName="composite" presStyleCnt="0"/>
      <dgm:spPr/>
    </dgm:pt>
    <dgm:pt modelId="{FEF3FEAF-A569-7A45-A45B-C5A771D0275F}" type="pres">
      <dgm:prSet presAssocID="{F19F9DD2-AAEE-3649-8FA3-DC4DD98C8671}" presName="rect1" presStyleLbl="trAlignAcc1" presStyleIdx="7" presStyleCnt="12">
        <dgm:presLayoutVars>
          <dgm:bulletEnabled val="1"/>
        </dgm:presLayoutVars>
      </dgm:prSet>
      <dgm:spPr/>
    </dgm:pt>
    <dgm:pt modelId="{8242F5D1-46D0-1F4D-80F6-8113D5FCFF0D}" type="pres">
      <dgm:prSet presAssocID="{F19F9DD2-AAEE-3649-8FA3-DC4DD98C8671}" presName="rect2" presStyleLbl="fgImgPlace1" presStyleIdx="7" presStyleCnt="12"/>
      <dgm:spPr/>
    </dgm:pt>
    <dgm:pt modelId="{AC297391-A600-DD40-A2C7-7894FE84FF30}" type="pres">
      <dgm:prSet presAssocID="{9D9F490C-491E-EC4D-BB5A-2765AF25020B}" presName="sibTrans" presStyleCnt="0"/>
      <dgm:spPr/>
    </dgm:pt>
    <dgm:pt modelId="{5E3D9562-BF50-6A47-98AB-E2D8192CCCF5}" type="pres">
      <dgm:prSet presAssocID="{B52A85EB-B0F2-064A-88D1-9080690FD651}" presName="composite" presStyleCnt="0"/>
      <dgm:spPr/>
    </dgm:pt>
    <dgm:pt modelId="{6CCE8E2C-AE83-8B49-9DB8-47B412373B0B}" type="pres">
      <dgm:prSet presAssocID="{B52A85EB-B0F2-064A-88D1-9080690FD651}" presName="rect1" presStyleLbl="trAlignAcc1" presStyleIdx="8" presStyleCnt="12">
        <dgm:presLayoutVars>
          <dgm:bulletEnabled val="1"/>
        </dgm:presLayoutVars>
      </dgm:prSet>
      <dgm:spPr/>
    </dgm:pt>
    <dgm:pt modelId="{8A47B775-A616-7C4B-AEA4-99386078EDAC}" type="pres">
      <dgm:prSet presAssocID="{B52A85EB-B0F2-064A-88D1-9080690FD651}" presName="rect2" presStyleLbl="fgImgPlace1" presStyleIdx="8" presStyleCnt="12"/>
      <dgm:spPr/>
    </dgm:pt>
    <dgm:pt modelId="{0ECCD1A4-CC9F-4F4E-82A5-F7C230293087}" type="pres">
      <dgm:prSet presAssocID="{949C2536-626F-304E-9F05-03C3A19DE921}" presName="sibTrans" presStyleCnt="0"/>
      <dgm:spPr/>
    </dgm:pt>
    <dgm:pt modelId="{FA40E479-2131-2647-8170-1D46C49F0FE3}" type="pres">
      <dgm:prSet presAssocID="{DE511A10-313D-FF43-ABD4-F7FBC74E4393}" presName="composite" presStyleCnt="0"/>
      <dgm:spPr/>
    </dgm:pt>
    <dgm:pt modelId="{806FA6A7-8A99-5A45-A9BB-D6AF68470B21}" type="pres">
      <dgm:prSet presAssocID="{DE511A10-313D-FF43-ABD4-F7FBC74E4393}" presName="rect1" presStyleLbl="trAlignAcc1" presStyleIdx="9" presStyleCnt="12">
        <dgm:presLayoutVars>
          <dgm:bulletEnabled val="1"/>
        </dgm:presLayoutVars>
      </dgm:prSet>
      <dgm:spPr/>
    </dgm:pt>
    <dgm:pt modelId="{3A128F3B-5452-3F49-8874-2C6D6E79B8D0}" type="pres">
      <dgm:prSet presAssocID="{DE511A10-313D-FF43-ABD4-F7FBC74E4393}" presName="rect2" presStyleLbl="fgImgPlace1" presStyleIdx="9" presStyleCnt="12"/>
      <dgm:spPr/>
    </dgm:pt>
    <dgm:pt modelId="{2C52611E-279D-E04C-9E31-F4055E83701A}" type="pres">
      <dgm:prSet presAssocID="{4BC4B814-1FD2-B143-8C5A-0BBFC39A7696}" presName="sibTrans" presStyleCnt="0"/>
      <dgm:spPr/>
    </dgm:pt>
    <dgm:pt modelId="{2BA612AE-C095-774E-944B-0F11D1E9D06E}" type="pres">
      <dgm:prSet presAssocID="{A46E38ED-6E87-614D-9291-FB3C86ADA884}" presName="composite" presStyleCnt="0"/>
      <dgm:spPr/>
    </dgm:pt>
    <dgm:pt modelId="{F6D60D9C-1474-9643-89A3-3A86AC4BC06A}" type="pres">
      <dgm:prSet presAssocID="{A46E38ED-6E87-614D-9291-FB3C86ADA884}" presName="rect1" presStyleLbl="trAlignAcc1" presStyleIdx="10" presStyleCnt="12">
        <dgm:presLayoutVars>
          <dgm:bulletEnabled val="1"/>
        </dgm:presLayoutVars>
      </dgm:prSet>
      <dgm:spPr/>
    </dgm:pt>
    <dgm:pt modelId="{B1998EEE-03D0-134F-B05E-47059B404BA3}" type="pres">
      <dgm:prSet presAssocID="{A46E38ED-6E87-614D-9291-FB3C86ADA884}" presName="rect2" presStyleLbl="fgImgPlace1" presStyleIdx="10" presStyleCnt="12"/>
      <dgm:spPr/>
    </dgm:pt>
    <dgm:pt modelId="{70CC57B8-1D82-4344-A5F7-0F694212D437}" type="pres">
      <dgm:prSet presAssocID="{EEC4C6BB-877F-9540-8D53-A562A20050B1}" presName="sibTrans" presStyleCnt="0"/>
      <dgm:spPr/>
    </dgm:pt>
    <dgm:pt modelId="{BA570896-13CD-E847-87B4-27EA60319779}" type="pres">
      <dgm:prSet presAssocID="{4C6189F2-02C8-5F4C-96CB-5B324566623A}" presName="composite" presStyleCnt="0"/>
      <dgm:spPr/>
    </dgm:pt>
    <dgm:pt modelId="{37B0A6C1-115C-F747-A784-BACACC6E2835}" type="pres">
      <dgm:prSet presAssocID="{4C6189F2-02C8-5F4C-96CB-5B324566623A}" presName="rect1" presStyleLbl="trAlignAcc1" presStyleIdx="11" presStyleCnt="12">
        <dgm:presLayoutVars>
          <dgm:bulletEnabled val="1"/>
        </dgm:presLayoutVars>
      </dgm:prSet>
      <dgm:spPr/>
    </dgm:pt>
    <dgm:pt modelId="{20AEB8F2-9534-D941-A1E1-E8C6E1788E1B}" type="pres">
      <dgm:prSet presAssocID="{4C6189F2-02C8-5F4C-96CB-5B324566623A}" presName="rect2" presStyleLbl="fgImgPlace1" presStyleIdx="11" presStyleCnt="12"/>
      <dgm:spPr/>
    </dgm:pt>
  </dgm:ptLst>
  <dgm:cxnLst>
    <dgm:cxn modelId="{E9A23E06-BA92-5E4D-A572-E59389FC70F5}" srcId="{66867572-A996-0D47-874C-154FC4BEB89B}" destId="{06406F63-4F65-6048-8102-11750981DBED}" srcOrd="1" destOrd="0" parTransId="{9566D2CB-1C47-134C-AAF5-3CD9586E27BC}" sibTransId="{CB662019-3DCE-9E46-A4BC-F90119869065}"/>
    <dgm:cxn modelId="{24A0710D-038B-AE4A-8FF5-397A157B6E22}" srcId="{66867572-A996-0D47-874C-154FC4BEB89B}" destId="{8C66773E-3B5E-DD48-B8FB-D359564EB04B}" srcOrd="5" destOrd="0" parTransId="{630E5849-DD0F-664E-B104-AAD35E58C566}" sibTransId="{6BD2AA9D-E4AD-A140-B208-0C723F71ACA0}"/>
    <dgm:cxn modelId="{ED2F000E-354B-0C49-9840-5D2D65C6E858}" srcId="{35F79D03-3BE9-B54D-A994-E024E5628439}" destId="{9068520F-CB5E-174C-90BF-016357696D5F}" srcOrd="0" destOrd="0" parTransId="{EE910822-31CC-9940-A6A2-5875DAD34FCA}" sibTransId="{4E1F21A2-7387-4F4A-9F93-CF7911DD14AB}"/>
    <dgm:cxn modelId="{8C64BF11-44C6-1A49-8E79-B7DD95B67403}" srcId="{66867572-A996-0D47-874C-154FC4BEB89B}" destId="{BF660172-207E-E043-B042-7872ECD97B75}" srcOrd="6" destOrd="0" parTransId="{BEB8E1B8-D00C-8249-B19D-722DCD07411A}" sibTransId="{9529AD5D-F63A-6347-BF25-70C39363F472}"/>
    <dgm:cxn modelId="{A2FDD212-F9FA-8C47-B18E-FBCEC51FF97E}" type="presOf" srcId="{FC02B661-4A8B-0044-AD73-7A00C20800E8}" destId="{7F15A13E-2682-6D4C-910C-D2AE764D411F}" srcOrd="0" destOrd="1" presId="urn:microsoft.com/office/officeart/2008/layout/PictureStrips"/>
    <dgm:cxn modelId="{2C2A2217-6FD1-F943-B925-60B3CDBB9F62}" type="presOf" srcId="{4C6189F2-02C8-5F4C-96CB-5B324566623A}" destId="{37B0A6C1-115C-F747-A784-BACACC6E2835}" srcOrd="0" destOrd="0" presId="urn:microsoft.com/office/officeart/2008/layout/PictureStrips"/>
    <dgm:cxn modelId="{EFA0FB1C-57FF-7842-9BC0-9BFEEFB0B7C0}" type="presOf" srcId="{D2914957-9D5C-8245-BC39-57024E4F1810}" destId="{3817E092-5F7D-F444-BED5-31C99385CB1D}" srcOrd="0" destOrd="1" presId="urn:microsoft.com/office/officeart/2008/layout/PictureStrips"/>
    <dgm:cxn modelId="{E8FDC125-3A8E-2240-A895-0AF43519E77E}" type="presOf" srcId="{06406F63-4F65-6048-8102-11750981DBED}" destId="{7F15A13E-2682-6D4C-910C-D2AE764D411F}" srcOrd="0" destOrd="0" presId="urn:microsoft.com/office/officeart/2008/layout/PictureStrips"/>
    <dgm:cxn modelId="{68763529-ABB8-5143-AE75-666439546670}" type="presOf" srcId="{B52A85EB-B0F2-064A-88D1-9080690FD651}" destId="{6CCE8E2C-AE83-8B49-9DB8-47B412373B0B}" srcOrd="0" destOrd="0" presId="urn:microsoft.com/office/officeart/2008/layout/PictureStrips"/>
    <dgm:cxn modelId="{BDD72037-1B86-EF45-AD29-D955032AED39}" type="presOf" srcId="{66867572-A996-0D47-874C-154FC4BEB89B}" destId="{C113DD82-5329-D64E-9E05-4D55DBEE3E11}" srcOrd="0" destOrd="0" presId="urn:microsoft.com/office/officeart/2008/layout/PictureStrips"/>
    <dgm:cxn modelId="{B2F8F843-0411-BA4B-B2EC-3F754C5B3165}" srcId="{A46E38ED-6E87-614D-9291-FB3C86ADA884}" destId="{10F4F874-F34D-BD4E-9380-95ACB81F8AC7}" srcOrd="0" destOrd="0" parTransId="{54101004-B62E-F74C-8F14-B0479126B85B}" sibTransId="{D9D42E4D-34A0-AB45-B197-B29A15275D96}"/>
    <dgm:cxn modelId="{E1975849-5046-294F-BA49-9BDCA7DC840F}" type="presOf" srcId="{8C66773E-3B5E-DD48-B8FB-D359564EB04B}" destId="{D4682E15-E7CB-5140-99A1-0AC1BC9341BF}" srcOrd="0" destOrd="0" presId="urn:microsoft.com/office/officeart/2008/layout/PictureStrips"/>
    <dgm:cxn modelId="{A00CA34E-362E-DC41-8C0B-B2ED6F5EC529}" srcId="{7F27D224-7046-0F41-8964-12CE3B113285}" destId="{67CA4157-DA28-554E-9F7D-F29CB77E37CE}" srcOrd="0" destOrd="0" parTransId="{BD5921B0-2EA1-1F4F-BA88-6B7A72E9033C}" sibTransId="{A68D8F57-DCD5-0E4D-A29E-7F7F5CA2143E}"/>
    <dgm:cxn modelId="{0AECE350-FA7E-314C-81CA-5B369082CE40}" type="presOf" srcId="{9068520F-CB5E-174C-90BF-016357696D5F}" destId="{54EB4F75-F9D0-8C41-847D-3CD35D6F3B62}" srcOrd="0" destOrd="1" presId="urn:microsoft.com/office/officeart/2008/layout/PictureStrips"/>
    <dgm:cxn modelId="{60794751-F7A5-E44D-B382-8AE9839B4F9B}" srcId="{06406F63-4F65-6048-8102-11750981DBED}" destId="{FC02B661-4A8B-0044-AD73-7A00C20800E8}" srcOrd="0" destOrd="0" parTransId="{56F7EEF6-5DC0-7E48-ADA6-5BF206220983}" sibTransId="{C92E6347-F411-AB41-831B-EB44BA92B4FB}"/>
    <dgm:cxn modelId="{FEC2CE52-F135-144C-A3F6-174AD9E5DA7B}" srcId="{BF660172-207E-E043-B042-7872ECD97B75}" destId="{D2914957-9D5C-8245-BC39-57024E4F1810}" srcOrd="0" destOrd="0" parTransId="{411776DE-72BD-8C4D-BC2A-728E026E5109}" sibTransId="{22DB4D24-6377-E245-B189-797CDEE2EBD8}"/>
    <dgm:cxn modelId="{6F5CE452-7BD2-F942-9C41-773CCC9785EB}" type="presOf" srcId="{10F4F874-F34D-BD4E-9380-95ACB81F8AC7}" destId="{F6D60D9C-1474-9643-89A3-3A86AC4BC06A}" srcOrd="0" destOrd="1" presId="urn:microsoft.com/office/officeart/2008/layout/PictureStrips"/>
    <dgm:cxn modelId="{6DEA665B-F142-5643-A8C8-23A73C3A6445}" srcId="{8C66773E-3B5E-DD48-B8FB-D359564EB04B}" destId="{9CF79C47-71A2-BE43-BC41-C9A543F50C32}" srcOrd="0" destOrd="0" parTransId="{17B4B032-63F8-0F40-98BA-6679C3B2CF5C}" sibTransId="{E3B9307A-9914-034C-AF53-64DBDB37C71A}"/>
    <dgm:cxn modelId="{FBE20C60-8BC7-1D4A-8D03-BF303676DA7C}" type="presOf" srcId="{DE511A10-313D-FF43-ABD4-F7FBC74E4393}" destId="{806FA6A7-8A99-5A45-A9BB-D6AF68470B21}" srcOrd="0" destOrd="0" presId="urn:microsoft.com/office/officeart/2008/layout/PictureStrips"/>
    <dgm:cxn modelId="{B31EF169-C4D9-894B-8F79-5FCA2FFB0647}" srcId="{66867572-A996-0D47-874C-154FC4BEB89B}" destId="{4C6189F2-02C8-5F4C-96CB-5B324566623A}" srcOrd="11" destOrd="0" parTransId="{2A929EB1-4FD2-9A40-B8ED-B4EE24CA505A}" sibTransId="{F8FC15D1-C9FF-A549-909B-5DEAC158774C}"/>
    <dgm:cxn modelId="{8B059C6D-8E66-D247-B563-5606070DF4C0}" type="presOf" srcId="{A46E38ED-6E87-614D-9291-FB3C86ADA884}" destId="{F6D60D9C-1474-9643-89A3-3A86AC4BC06A}" srcOrd="0" destOrd="0" presId="urn:microsoft.com/office/officeart/2008/layout/PictureStrips"/>
    <dgm:cxn modelId="{34880076-42EC-3E46-8ED9-A17EB346BD16}" srcId="{66867572-A996-0D47-874C-154FC4BEB89B}" destId="{65F22BE8-C66D-5D44-A9FC-0933BB1C03BE}" srcOrd="0" destOrd="0" parTransId="{499A2289-C082-7040-9EF4-72EEA5A139EE}" sibTransId="{690BEB86-D406-BE45-86CD-0A3C3C6744B6}"/>
    <dgm:cxn modelId="{B4E1D07D-0647-CA40-B81B-BB2770457553}" type="presOf" srcId="{35F79D03-3BE9-B54D-A994-E024E5628439}" destId="{54EB4F75-F9D0-8C41-847D-3CD35D6F3B62}" srcOrd="0" destOrd="0" presId="urn:microsoft.com/office/officeart/2008/layout/PictureStrips"/>
    <dgm:cxn modelId="{13D5C280-BF1A-7E42-8F19-7BEC9EF14DAB}" type="presOf" srcId="{FF63DA30-13EC-4349-885B-91AD4C24FD85}" destId="{1637EED5-4D3C-3B40-9462-9FE54E905CF6}" srcOrd="0" destOrd="0" presId="urn:microsoft.com/office/officeart/2008/layout/PictureStrips"/>
    <dgm:cxn modelId="{4516B799-305E-2A45-AC3D-66D23B50330E}" srcId="{66867572-A996-0D47-874C-154FC4BEB89B}" destId="{7F27D224-7046-0F41-8964-12CE3B113285}" srcOrd="2" destOrd="0" parTransId="{F894D701-6A4C-094C-A220-3B8448D00194}" sibTransId="{9D02DEF3-DEBD-4144-AA18-3EF81A78C486}"/>
    <dgm:cxn modelId="{1D98039C-D7D2-5B46-9E31-533B684DDFB7}" type="presOf" srcId="{5C6BE484-E307-D544-A2FC-CEC1EE68E088}" destId="{FEF3FEAF-A569-7A45-A45B-C5A771D0275F}" srcOrd="0" destOrd="1" presId="urn:microsoft.com/office/officeart/2008/layout/PictureStrips"/>
    <dgm:cxn modelId="{242D039E-FAAA-8146-91DF-514EFCE051D5}" type="presOf" srcId="{67CA4157-DA28-554E-9F7D-F29CB77E37CE}" destId="{A59E973D-C323-9D4E-A5D5-395FE6226D2B}" srcOrd="0" destOrd="1" presId="urn:microsoft.com/office/officeart/2008/layout/PictureStrips"/>
    <dgm:cxn modelId="{2CABBEA8-AEF4-C04B-A5F5-B846716A8ADA}" srcId="{66867572-A996-0D47-874C-154FC4BEB89B}" destId="{B52A85EB-B0F2-064A-88D1-9080690FD651}" srcOrd="8" destOrd="0" parTransId="{64A82401-7853-3A4F-B778-2253C1A8B204}" sibTransId="{949C2536-626F-304E-9F05-03C3A19DE921}"/>
    <dgm:cxn modelId="{5C1732AC-89FF-E144-9014-89B06E167B84}" srcId="{FF63DA30-13EC-4349-885B-91AD4C24FD85}" destId="{DDA4C279-6CB5-3A42-93EC-3C0E6B59D718}" srcOrd="0" destOrd="0" parTransId="{3E937726-D3EE-364D-97EB-5A8DF3A70412}" sibTransId="{42D596A5-2091-5746-8EF5-536C8B199351}"/>
    <dgm:cxn modelId="{6486CCB5-0954-354E-973A-49851DAA7934}" type="presOf" srcId="{BF660172-207E-E043-B042-7872ECD97B75}" destId="{3817E092-5F7D-F444-BED5-31C99385CB1D}" srcOrd="0" destOrd="0" presId="urn:microsoft.com/office/officeart/2008/layout/PictureStrips"/>
    <dgm:cxn modelId="{7904C9C4-F6DC-374F-8B4D-E31CBE35BE7A}" type="presOf" srcId="{65F22BE8-C66D-5D44-A9FC-0933BB1C03BE}" destId="{B87D9DFC-B197-D14C-85CC-83FC7C55394A}" srcOrd="0" destOrd="0" presId="urn:microsoft.com/office/officeart/2008/layout/PictureStrips"/>
    <dgm:cxn modelId="{65AAF7CC-FEFC-D94E-9D36-9CFFACD348C8}" srcId="{66867572-A996-0D47-874C-154FC4BEB89B}" destId="{DE511A10-313D-FF43-ABD4-F7FBC74E4393}" srcOrd="9" destOrd="0" parTransId="{827C5904-6111-F94C-9916-4E10CCEB877D}" sibTransId="{4BC4B814-1FD2-B143-8C5A-0BBFC39A7696}"/>
    <dgm:cxn modelId="{7F10D6CD-B55E-7444-8C6C-DDCA7F371DC6}" srcId="{66867572-A996-0D47-874C-154FC4BEB89B}" destId="{F19F9DD2-AAEE-3649-8FA3-DC4DD98C8671}" srcOrd="7" destOrd="0" parTransId="{910DF15B-6650-C347-836C-99A57CE156D0}" sibTransId="{9D9F490C-491E-EC4D-BB5A-2765AF25020B}"/>
    <dgm:cxn modelId="{E251BFD0-C05B-774C-9A70-A5EF7FC591C3}" type="presOf" srcId="{DDA4C279-6CB5-3A42-93EC-3C0E6B59D718}" destId="{1637EED5-4D3C-3B40-9462-9FE54E905CF6}" srcOrd="0" destOrd="1" presId="urn:microsoft.com/office/officeart/2008/layout/PictureStrips"/>
    <dgm:cxn modelId="{A6A7D8D1-2198-B748-849E-08E295C9A719}" srcId="{66867572-A996-0D47-874C-154FC4BEB89B}" destId="{A46E38ED-6E87-614D-9291-FB3C86ADA884}" srcOrd="10" destOrd="0" parTransId="{3FD9D71D-3834-6F4E-8DFA-E54A1BB4F246}" sibTransId="{EEC4C6BB-877F-9540-8D53-A562A20050B1}"/>
    <dgm:cxn modelId="{A2441ADA-E580-8244-A6EE-53A6B4EC5C19}" srcId="{66867572-A996-0D47-874C-154FC4BEB89B}" destId="{35F79D03-3BE9-B54D-A994-E024E5628439}" srcOrd="3" destOrd="0" parTransId="{8AA9566D-A016-C649-830D-7BE42BF967C4}" sibTransId="{669EFE17-6248-B648-A3F9-4775F67A3B0D}"/>
    <dgm:cxn modelId="{04105CDB-6DA0-CA49-9D30-14A50C134175}" type="presOf" srcId="{9CF79C47-71A2-BE43-BC41-C9A543F50C32}" destId="{D4682E15-E7CB-5140-99A1-0AC1BC9341BF}" srcOrd="0" destOrd="1" presId="urn:microsoft.com/office/officeart/2008/layout/PictureStrips"/>
    <dgm:cxn modelId="{89196FDF-3FF0-254A-9250-1B083AFE12B6}" srcId="{66867572-A996-0D47-874C-154FC4BEB89B}" destId="{FF63DA30-13EC-4349-885B-91AD4C24FD85}" srcOrd="4" destOrd="0" parTransId="{1FC429D8-6BF1-F44B-B942-E8CBD992FA1F}" sibTransId="{133E88D0-247C-F548-ABAE-80EECF2211DB}"/>
    <dgm:cxn modelId="{ADD2B0E2-B979-6F45-8AC1-60673876FC2F}" srcId="{F19F9DD2-AAEE-3649-8FA3-DC4DD98C8671}" destId="{5C6BE484-E307-D544-A2FC-CEC1EE68E088}" srcOrd="0" destOrd="0" parTransId="{4AAB9B09-64F1-1346-AF8C-CC0AB5E35AD8}" sibTransId="{47A92AF1-A4EF-F24F-818D-7B12113EB6DB}"/>
    <dgm:cxn modelId="{E723C9E7-B54B-2E4B-9EE3-CB863703C519}" srcId="{B52A85EB-B0F2-064A-88D1-9080690FD651}" destId="{28345964-9764-7E44-8B55-0EB158A9052C}" srcOrd="0" destOrd="0" parTransId="{CA9D47C7-6D68-A54B-AC9C-305DC64E661B}" sibTransId="{CBF02F81-BBF3-9D4C-8D65-FCE9E1A7FE3B}"/>
    <dgm:cxn modelId="{5A9B2DF0-D688-004A-A098-00E95745B651}" type="presOf" srcId="{F19F9DD2-AAEE-3649-8FA3-DC4DD98C8671}" destId="{FEF3FEAF-A569-7A45-A45B-C5A771D0275F}" srcOrd="0" destOrd="0" presId="urn:microsoft.com/office/officeart/2008/layout/PictureStrips"/>
    <dgm:cxn modelId="{1A2280FB-34CC-9248-88CD-1866A57985E4}" type="presOf" srcId="{28345964-9764-7E44-8B55-0EB158A9052C}" destId="{6CCE8E2C-AE83-8B49-9DB8-47B412373B0B}" srcOrd="0" destOrd="1" presId="urn:microsoft.com/office/officeart/2008/layout/PictureStrips"/>
    <dgm:cxn modelId="{09B451FF-7F32-F24A-BC5E-78571BD62E9F}" type="presOf" srcId="{7F27D224-7046-0F41-8964-12CE3B113285}" destId="{A59E973D-C323-9D4E-A5D5-395FE6226D2B}" srcOrd="0" destOrd="0" presId="urn:microsoft.com/office/officeart/2008/layout/PictureStrips"/>
    <dgm:cxn modelId="{FE299595-32CD-2142-801A-3573C1034872}" type="presParOf" srcId="{C113DD82-5329-D64E-9E05-4D55DBEE3E11}" destId="{BBD88588-130E-D54F-9645-14344E638104}" srcOrd="0" destOrd="0" presId="urn:microsoft.com/office/officeart/2008/layout/PictureStrips"/>
    <dgm:cxn modelId="{899DAB5F-ABE6-CD48-BD7A-579304EBD602}" type="presParOf" srcId="{BBD88588-130E-D54F-9645-14344E638104}" destId="{B87D9DFC-B197-D14C-85CC-83FC7C55394A}" srcOrd="0" destOrd="0" presId="urn:microsoft.com/office/officeart/2008/layout/PictureStrips"/>
    <dgm:cxn modelId="{10A9BD3D-C67E-E247-95C0-A9552A3375C5}" type="presParOf" srcId="{BBD88588-130E-D54F-9645-14344E638104}" destId="{1D78BBEF-20CD-1948-91D1-E1298178BFC1}" srcOrd="1" destOrd="0" presId="urn:microsoft.com/office/officeart/2008/layout/PictureStrips"/>
    <dgm:cxn modelId="{F709BA27-52E0-1548-83DF-5E7C5E6D050D}" type="presParOf" srcId="{C113DD82-5329-D64E-9E05-4D55DBEE3E11}" destId="{E73561F8-FFB2-1441-9FEB-1B445CF7665B}" srcOrd="1" destOrd="0" presId="urn:microsoft.com/office/officeart/2008/layout/PictureStrips"/>
    <dgm:cxn modelId="{3C70D0B6-81A3-7B47-A8F8-9A3834DF8EA9}" type="presParOf" srcId="{C113DD82-5329-D64E-9E05-4D55DBEE3E11}" destId="{21A56AB3-3D94-D34B-88A4-5B153BFD37D8}" srcOrd="2" destOrd="0" presId="urn:microsoft.com/office/officeart/2008/layout/PictureStrips"/>
    <dgm:cxn modelId="{54C0DB6B-94CC-F84A-A197-008361D2278B}" type="presParOf" srcId="{21A56AB3-3D94-D34B-88A4-5B153BFD37D8}" destId="{7F15A13E-2682-6D4C-910C-D2AE764D411F}" srcOrd="0" destOrd="0" presId="urn:microsoft.com/office/officeart/2008/layout/PictureStrips"/>
    <dgm:cxn modelId="{D9F09FA0-EAD1-0E4A-8CE8-2C91970F7AE6}" type="presParOf" srcId="{21A56AB3-3D94-D34B-88A4-5B153BFD37D8}" destId="{C1174766-264D-9A40-8A7D-2351AB54B312}" srcOrd="1" destOrd="0" presId="urn:microsoft.com/office/officeart/2008/layout/PictureStrips"/>
    <dgm:cxn modelId="{F83AF17B-7FB7-BF4A-AF24-AD1ADBD3A0D4}" type="presParOf" srcId="{C113DD82-5329-D64E-9E05-4D55DBEE3E11}" destId="{769F5071-3AF4-724D-B4DF-1234C1861A04}" srcOrd="3" destOrd="0" presId="urn:microsoft.com/office/officeart/2008/layout/PictureStrips"/>
    <dgm:cxn modelId="{F398E1EE-1561-F644-91FC-A2D6790C5354}" type="presParOf" srcId="{C113DD82-5329-D64E-9E05-4D55DBEE3E11}" destId="{59C58F85-056F-FA41-BC3D-6189F880019A}" srcOrd="4" destOrd="0" presId="urn:microsoft.com/office/officeart/2008/layout/PictureStrips"/>
    <dgm:cxn modelId="{A356DDF9-D2E7-E845-9902-273EC767FE60}" type="presParOf" srcId="{59C58F85-056F-FA41-BC3D-6189F880019A}" destId="{A59E973D-C323-9D4E-A5D5-395FE6226D2B}" srcOrd="0" destOrd="0" presId="urn:microsoft.com/office/officeart/2008/layout/PictureStrips"/>
    <dgm:cxn modelId="{F0CD8AD2-BE39-4F48-B4EA-36FE10E77A96}" type="presParOf" srcId="{59C58F85-056F-FA41-BC3D-6189F880019A}" destId="{D0C29860-FCF6-8C47-991D-95F90B360F84}" srcOrd="1" destOrd="0" presId="urn:microsoft.com/office/officeart/2008/layout/PictureStrips"/>
    <dgm:cxn modelId="{D7FEE03D-F8B9-B943-AFD7-249EB1BCE20C}" type="presParOf" srcId="{C113DD82-5329-D64E-9E05-4D55DBEE3E11}" destId="{90DEC7C1-B79D-F74E-B8DE-346E54315F62}" srcOrd="5" destOrd="0" presId="urn:microsoft.com/office/officeart/2008/layout/PictureStrips"/>
    <dgm:cxn modelId="{08C3EE01-4DAC-A143-808B-482785004D64}" type="presParOf" srcId="{C113DD82-5329-D64E-9E05-4D55DBEE3E11}" destId="{F70ED154-97B1-8843-ACA1-405AC3A3E502}" srcOrd="6" destOrd="0" presId="urn:microsoft.com/office/officeart/2008/layout/PictureStrips"/>
    <dgm:cxn modelId="{90254ADD-F21D-1448-8BA9-AA50C56A164F}" type="presParOf" srcId="{F70ED154-97B1-8843-ACA1-405AC3A3E502}" destId="{54EB4F75-F9D0-8C41-847D-3CD35D6F3B62}" srcOrd="0" destOrd="0" presId="urn:microsoft.com/office/officeart/2008/layout/PictureStrips"/>
    <dgm:cxn modelId="{A404D8B0-1E3B-4E4F-A223-093141EB9AC9}" type="presParOf" srcId="{F70ED154-97B1-8843-ACA1-405AC3A3E502}" destId="{2ED8083A-9CDD-9346-85E5-416331EAE799}" srcOrd="1" destOrd="0" presId="urn:microsoft.com/office/officeart/2008/layout/PictureStrips"/>
    <dgm:cxn modelId="{3BECDB97-932E-A64A-9A34-5DE155B64932}" type="presParOf" srcId="{C113DD82-5329-D64E-9E05-4D55DBEE3E11}" destId="{5FDB2D52-C480-FD48-9227-E798A2D44629}" srcOrd="7" destOrd="0" presId="urn:microsoft.com/office/officeart/2008/layout/PictureStrips"/>
    <dgm:cxn modelId="{7033C40E-A67D-E540-BDCE-EAC37803FD7D}" type="presParOf" srcId="{C113DD82-5329-D64E-9E05-4D55DBEE3E11}" destId="{D2469AA5-0ADD-EE4B-A038-EE9B5909A874}" srcOrd="8" destOrd="0" presId="urn:microsoft.com/office/officeart/2008/layout/PictureStrips"/>
    <dgm:cxn modelId="{6CE4EA84-E17D-D146-A43C-03449CB35CA6}" type="presParOf" srcId="{D2469AA5-0ADD-EE4B-A038-EE9B5909A874}" destId="{1637EED5-4D3C-3B40-9462-9FE54E905CF6}" srcOrd="0" destOrd="0" presId="urn:microsoft.com/office/officeart/2008/layout/PictureStrips"/>
    <dgm:cxn modelId="{72D0E60C-C29A-E94B-9C38-70EF3828F5D2}" type="presParOf" srcId="{D2469AA5-0ADD-EE4B-A038-EE9B5909A874}" destId="{47F01B85-BE78-D447-8FC6-3C9A44562F1C}" srcOrd="1" destOrd="0" presId="urn:microsoft.com/office/officeart/2008/layout/PictureStrips"/>
    <dgm:cxn modelId="{7A6F22E7-0F7F-8F42-AB11-2A30A1E4D376}" type="presParOf" srcId="{C113DD82-5329-D64E-9E05-4D55DBEE3E11}" destId="{5A224C95-7B8C-A24F-8C8C-E00F49B7C660}" srcOrd="9" destOrd="0" presId="urn:microsoft.com/office/officeart/2008/layout/PictureStrips"/>
    <dgm:cxn modelId="{B213410F-1769-0847-BC82-D41CF3B3AE46}" type="presParOf" srcId="{C113DD82-5329-D64E-9E05-4D55DBEE3E11}" destId="{6DC26575-B393-E44C-8A7F-E790C56CB1A3}" srcOrd="10" destOrd="0" presId="urn:microsoft.com/office/officeart/2008/layout/PictureStrips"/>
    <dgm:cxn modelId="{9D12352A-8D94-3B47-9D45-CC215D009CBE}" type="presParOf" srcId="{6DC26575-B393-E44C-8A7F-E790C56CB1A3}" destId="{D4682E15-E7CB-5140-99A1-0AC1BC9341BF}" srcOrd="0" destOrd="0" presId="urn:microsoft.com/office/officeart/2008/layout/PictureStrips"/>
    <dgm:cxn modelId="{E98C012E-E5D7-054C-8C18-0215C07E1A2D}" type="presParOf" srcId="{6DC26575-B393-E44C-8A7F-E790C56CB1A3}" destId="{22EAC2D3-FC54-1C4C-A5BF-E04FCF7591AA}" srcOrd="1" destOrd="0" presId="urn:microsoft.com/office/officeart/2008/layout/PictureStrips"/>
    <dgm:cxn modelId="{BD0C0737-1097-6243-8D71-7E66EFBEDC71}" type="presParOf" srcId="{C113DD82-5329-D64E-9E05-4D55DBEE3E11}" destId="{90DEF38A-5C8A-4D44-A0AD-D6E7928142E2}" srcOrd="11" destOrd="0" presId="urn:microsoft.com/office/officeart/2008/layout/PictureStrips"/>
    <dgm:cxn modelId="{F120988B-2F42-F140-9300-52A336BE132D}" type="presParOf" srcId="{C113DD82-5329-D64E-9E05-4D55DBEE3E11}" destId="{5EADFBFE-A459-D349-A5A1-EC33ACE280F9}" srcOrd="12" destOrd="0" presId="urn:microsoft.com/office/officeart/2008/layout/PictureStrips"/>
    <dgm:cxn modelId="{8CC02B38-16DB-DB4C-9A76-1AD5C52A397A}" type="presParOf" srcId="{5EADFBFE-A459-D349-A5A1-EC33ACE280F9}" destId="{3817E092-5F7D-F444-BED5-31C99385CB1D}" srcOrd="0" destOrd="0" presId="urn:microsoft.com/office/officeart/2008/layout/PictureStrips"/>
    <dgm:cxn modelId="{744669BE-FC63-D842-ACEA-A731771EFC81}" type="presParOf" srcId="{5EADFBFE-A459-D349-A5A1-EC33ACE280F9}" destId="{6C162C4D-3A80-E54D-A447-DDE53F6F82A9}" srcOrd="1" destOrd="0" presId="urn:microsoft.com/office/officeart/2008/layout/PictureStrips"/>
    <dgm:cxn modelId="{A41D817B-EA2F-1A41-90AD-B594305160C6}" type="presParOf" srcId="{C113DD82-5329-D64E-9E05-4D55DBEE3E11}" destId="{022426B2-5300-7B4F-BFB2-C0ECFCF4AD0B}" srcOrd="13" destOrd="0" presId="urn:microsoft.com/office/officeart/2008/layout/PictureStrips"/>
    <dgm:cxn modelId="{9BD9B765-4CE2-694A-B4FC-11A55B695A68}" type="presParOf" srcId="{C113DD82-5329-D64E-9E05-4D55DBEE3E11}" destId="{5D5011AE-7627-F146-8221-9BC9AE91728D}" srcOrd="14" destOrd="0" presId="urn:microsoft.com/office/officeart/2008/layout/PictureStrips"/>
    <dgm:cxn modelId="{DCFD11E4-42B3-3243-BF8E-78946257550A}" type="presParOf" srcId="{5D5011AE-7627-F146-8221-9BC9AE91728D}" destId="{FEF3FEAF-A569-7A45-A45B-C5A771D0275F}" srcOrd="0" destOrd="0" presId="urn:microsoft.com/office/officeart/2008/layout/PictureStrips"/>
    <dgm:cxn modelId="{E6DFC57C-2A56-1D43-8782-23E903FB1F9B}" type="presParOf" srcId="{5D5011AE-7627-F146-8221-9BC9AE91728D}" destId="{8242F5D1-46D0-1F4D-80F6-8113D5FCFF0D}" srcOrd="1" destOrd="0" presId="urn:microsoft.com/office/officeart/2008/layout/PictureStrips"/>
    <dgm:cxn modelId="{49439399-215B-2B46-90AF-48DC6169A91B}" type="presParOf" srcId="{C113DD82-5329-D64E-9E05-4D55DBEE3E11}" destId="{AC297391-A600-DD40-A2C7-7894FE84FF30}" srcOrd="15" destOrd="0" presId="urn:microsoft.com/office/officeart/2008/layout/PictureStrips"/>
    <dgm:cxn modelId="{0380EF11-4596-314D-ADA3-94C5D9D5944E}" type="presParOf" srcId="{C113DD82-5329-D64E-9E05-4D55DBEE3E11}" destId="{5E3D9562-BF50-6A47-98AB-E2D8192CCCF5}" srcOrd="16" destOrd="0" presId="urn:microsoft.com/office/officeart/2008/layout/PictureStrips"/>
    <dgm:cxn modelId="{AAC9EA3A-AE32-1846-9AB4-361112D64505}" type="presParOf" srcId="{5E3D9562-BF50-6A47-98AB-E2D8192CCCF5}" destId="{6CCE8E2C-AE83-8B49-9DB8-47B412373B0B}" srcOrd="0" destOrd="0" presId="urn:microsoft.com/office/officeart/2008/layout/PictureStrips"/>
    <dgm:cxn modelId="{31B238D6-C53B-5D4E-B22E-09F505FAD561}" type="presParOf" srcId="{5E3D9562-BF50-6A47-98AB-E2D8192CCCF5}" destId="{8A47B775-A616-7C4B-AEA4-99386078EDAC}" srcOrd="1" destOrd="0" presId="urn:microsoft.com/office/officeart/2008/layout/PictureStrips"/>
    <dgm:cxn modelId="{F9ABC2D8-A19C-0B4C-AFD2-EC53D37C31E6}" type="presParOf" srcId="{C113DD82-5329-D64E-9E05-4D55DBEE3E11}" destId="{0ECCD1A4-CC9F-4F4E-82A5-F7C230293087}" srcOrd="17" destOrd="0" presId="urn:microsoft.com/office/officeart/2008/layout/PictureStrips"/>
    <dgm:cxn modelId="{A3CB2C41-5C89-8C43-83CE-DADA0F6ACE18}" type="presParOf" srcId="{C113DD82-5329-D64E-9E05-4D55DBEE3E11}" destId="{FA40E479-2131-2647-8170-1D46C49F0FE3}" srcOrd="18" destOrd="0" presId="urn:microsoft.com/office/officeart/2008/layout/PictureStrips"/>
    <dgm:cxn modelId="{50F45607-59CF-E840-9128-E3A458DA598A}" type="presParOf" srcId="{FA40E479-2131-2647-8170-1D46C49F0FE3}" destId="{806FA6A7-8A99-5A45-A9BB-D6AF68470B21}" srcOrd="0" destOrd="0" presId="urn:microsoft.com/office/officeart/2008/layout/PictureStrips"/>
    <dgm:cxn modelId="{5E26E577-0497-3F44-A9BE-982BF4883C20}" type="presParOf" srcId="{FA40E479-2131-2647-8170-1D46C49F0FE3}" destId="{3A128F3B-5452-3F49-8874-2C6D6E79B8D0}" srcOrd="1" destOrd="0" presId="urn:microsoft.com/office/officeart/2008/layout/PictureStrips"/>
    <dgm:cxn modelId="{1BA331C4-93AD-9740-B941-CCED884AE98A}" type="presParOf" srcId="{C113DD82-5329-D64E-9E05-4D55DBEE3E11}" destId="{2C52611E-279D-E04C-9E31-F4055E83701A}" srcOrd="19" destOrd="0" presId="urn:microsoft.com/office/officeart/2008/layout/PictureStrips"/>
    <dgm:cxn modelId="{58E0E248-F0E5-914A-93FD-DE05289A1164}" type="presParOf" srcId="{C113DD82-5329-D64E-9E05-4D55DBEE3E11}" destId="{2BA612AE-C095-774E-944B-0F11D1E9D06E}" srcOrd="20" destOrd="0" presId="urn:microsoft.com/office/officeart/2008/layout/PictureStrips"/>
    <dgm:cxn modelId="{37DBEBAF-357B-DE49-AF58-5D00A273DC20}" type="presParOf" srcId="{2BA612AE-C095-774E-944B-0F11D1E9D06E}" destId="{F6D60D9C-1474-9643-89A3-3A86AC4BC06A}" srcOrd="0" destOrd="0" presId="urn:microsoft.com/office/officeart/2008/layout/PictureStrips"/>
    <dgm:cxn modelId="{FA6D90F2-306A-2040-B096-1A21B9280244}" type="presParOf" srcId="{2BA612AE-C095-774E-944B-0F11D1E9D06E}" destId="{B1998EEE-03D0-134F-B05E-47059B404BA3}" srcOrd="1" destOrd="0" presId="urn:microsoft.com/office/officeart/2008/layout/PictureStrips"/>
    <dgm:cxn modelId="{5330A6B4-507B-8141-A654-5CCAAF8473C4}" type="presParOf" srcId="{C113DD82-5329-D64E-9E05-4D55DBEE3E11}" destId="{70CC57B8-1D82-4344-A5F7-0F694212D437}" srcOrd="21" destOrd="0" presId="urn:microsoft.com/office/officeart/2008/layout/PictureStrips"/>
    <dgm:cxn modelId="{45D9C41B-B7E2-6944-8E6F-F54481563F5C}" type="presParOf" srcId="{C113DD82-5329-D64E-9E05-4D55DBEE3E11}" destId="{BA570896-13CD-E847-87B4-27EA60319779}" srcOrd="22" destOrd="0" presId="urn:microsoft.com/office/officeart/2008/layout/PictureStrips"/>
    <dgm:cxn modelId="{91FE9BA9-2FFF-8D45-AA57-5FB64B1334D6}" type="presParOf" srcId="{BA570896-13CD-E847-87B4-27EA60319779}" destId="{37B0A6C1-115C-F747-A784-BACACC6E2835}" srcOrd="0" destOrd="0" presId="urn:microsoft.com/office/officeart/2008/layout/PictureStrips"/>
    <dgm:cxn modelId="{11F76E1F-257B-5940-A346-2FB283FA5FF3}" type="presParOf" srcId="{BA570896-13CD-E847-87B4-27EA60319779}" destId="{20AEB8F2-9534-D941-A1E1-E8C6E1788E1B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CE44F8-B5F7-495A-B5DB-0D9BC8EB2223}">
      <dsp:nvSpPr>
        <dsp:cNvPr id="0" name=""/>
        <dsp:cNvSpPr/>
      </dsp:nvSpPr>
      <dsp:spPr>
        <a:xfrm rot="5400000">
          <a:off x="4724406" y="-1717683"/>
          <a:ext cx="1291027" cy="505404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Not requiring supplemental O2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0" i="0" kern="1200" dirty="0"/>
            <a:t>Insufficient data to recommend for or against </a:t>
          </a:r>
          <a:r>
            <a:rPr lang="en-US" sz="1400" b="0" i="0" kern="1200" dirty="0" err="1"/>
            <a:t>remdesivir</a:t>
          </a:r>
          <a:endParaRPr lang="en-US" sz="1400" kern="1200" dirty="0"/>
        </a:p>
      </dsp:txBody>
      <dsp:txXfrm rot="-5400000">
        <a:off x="2842899" y="226847"/>
        <a:ext cx="4991019" cy="1164981"/>
      </dsp:txXfrm>
    </dsp:sp>
    <dsp:sp modelId="{46B6FD9F-CDAE-440B-8B71-A9F97A7F8AB8}">
      <dsp:nvSpPr>
        <dsp:cNvPr id="0" name=""/>
        <dsp:cNvSpPr/>
      </dsp:nvSpPr>
      <dsp:spPr>
        <a:xfrm>
          <a:off x="0" y="2445"/>
          <a:ext cx="2842899" cy="161378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Mild/Moderate</a:t>
          </a:r>
        </a:p>
      </dsp:txBody>
      <dsp:txXfrm>
        <a:off x="78778" y="81223"/>
        <a:ext cx="2685343" cy="1456228"/>
      </dsp:txXfrm>
    </dsp:sp>
    <dsp:sp modelId="{6D2DE250-D7FD-4F5A-BDAC-D4EC7A5A5D0D}">
      <dsp:nvSpPr>
        <dsp:cNvPr id="0" name=""/>
        <dsp:cNvSpPr/>
      </dsp:nvSpPr>
      <dsp:spPr>
        <a:xfrm rot="5400000">
          <a:off x="4724406" y="-23209"/>
          <a:ext cx="1291027" cy="505404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Not requiring HF O2, n</a:t>
          </a:r>
          <a:r>
            <a:rPr lang="en-US" sz="1400" b="0" i="0" kern="1200" dirty="0"/>
            <a:t>oninvasive or invasive </a:t>
          </a:r>
          <a:r>
            <a:rPr lang="en-US" sz="1400" b="0" i="0" kern="1200" dirty="0" err="1"/>
            <a:t>mech</a:t>
          </a:r>
          <a:r>
            <a:rPr lang="en-US" sz="1400" b="0" i="0" kern="1200" dirty="0"/>
            <a:t> vent</a:t>
          </a:r>
          <a:r>
            <a:rPr lang="en-US" sz="1400" kern="1200" dirty="0"/>
            <a:t>, ECMO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0" i="0" kern="1200" dirty="0" err="1"/>
            <a:t>Remdesivir</a:t>
          </a:r>
          <a:r>
            <a:rPr lang="en-US" sz="1400" b="0" i="0" kern="1200" dirty="0"/>
            <a:t> x 5 days or until discharge, whichever comes first (AI)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0" i="0" kern="1200" dirty="0"/>
            <a:t>If a patient progresses to requiring HF O2, noninvasive or invasive mechanical ventilation, or ECMO, course should be completed</a:t>
          </a:r>
          <a:endParaRPr lang="en-US" sz="1400" kern="1200" dirty="0"/>
        </a:p>
      </dsp:txBody>
      <dsp:txXfrm rot="-5400000">
        <a:off x="2842899" y="1921322"/>
        <a:ext cx="4991019" cy="1164981"/>
      </dsp:txXfrm>
    </dsp:sp>
    <dsp:sp modelId="{47D98AEC-2AEB-4FFF-B8AC-C298AFD0E0AB}">
      <dsp:nvSpPr>
        <dsp:cNvPr id="0" name=""/>
        <dsp:cNvSpPr/>
      </dsp:nvSpPr>
      <dsp:spPr>
        <a:xfrm>
          <a:off x="0" y="1696919"/>
          <a:ext cx="2842899" cy="161378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Hospitalized requiring supplemental O2</a:t>
          </a:r>
        </a:p>
      </dsp:txBody>
      <dsp:txXfrm>
        <a:off x="78778" y="1775697"/>
        <a:ext cx="2685343" cy="1456228"/>
      </dsp:txXfrm>
    </dsp:sp>
    <dsp:sp modelId="{A2DDE651-2D60-46F6-A5E2-5DB1F5AC7421}">
      <dsp:nvSpPr>
        <dsp:cNvPr id="0" name=""/>
        <dsp:cNvSpPr/>
      </dsp:nvSpPr>
      <dsp:spPr>
        <a:xfrm rot="5400000">
          <a:off x="4724406" y="1671264"/>
          <a:ext cx="1291027" cy="505404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Requiring HF O2, n</a:t>
          </a:r>
          <a:r>
            <a:rPr lang="en-US" sz="1400" b="0" i="0" kern="1200" dirty="0"/>
            <a:t>oninvasive or invasive </a:t>
          </a:r>
          <a:r>
            <a:rPr lang="en-US" sz="1400" b="0" i="0" kern="1200" dirty="0" err="1"/>
            <a:t>mech</a:t>
          </a:r>
          <a:r>
            <a:rPr lang="en-US" sz="1400" b="0" i="0" kern="1200" dirty="0"/>
            <a:t> ventilation</a:t>
          </a:r>
          <a:r>
            <a:rPr lang="en-US" sz="1400" kern="1200" dirty="0"/>
            <a:t>, ECMO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0" i="0" kern="1200" dirty="0"/>
            <a:t>Uncertain whether starting </a:t>
          </a:r>
          <a:r>
            <a:rPr lang="en-US" sz="1400" b="0" i="0" kern="1200" dirty="0" err="1"/>
            <a:t>remdesivir</a:t>
          </a:r>
          <a:r>
            <a:rPr lang="en-US" sz="1400" b="0" i="0" kern="1200" dirty="0"/>
            <a:t> confers clinical benefit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0" i="0" kern="1200" dirty="0"/>
            <a:t>Cannot make a recommendation for or against starting </a:t>
          </a:r>
          <a:r>
            <a:rPr lang="en-US" sz="1400" b="0" i="0" kern="1200" dirty="0" err="1"/>
            <a:t>remdesivir</a:t>
          </a:r>
          <a:endParaRPr lang="en-US" sz="1400" kern="1200" dirty="0"/>
        </a:p>
      </dsp:txBody>
      <dsp:txXfrm rot="-5400000">
        <a:off x="2842899" y="3615795"/>
        <a:ext cx="4991019" cy="1164981"/>
      </dsp:txXfrm>
    </dsp:sp>
    <dsp:sp modelId="{CD985EDD-94F3-47DD-862C-41EA4BDD4F7C}">
      <dsp:nvSpPr>
        <dsp:cNvPr id="0" name=""/>
        <dsp:cNvSpPr/>
      </dsp:nvSpPr>
      <dsp:spPr>
        <a:xfrm>
          <a:off x="0" y="3391393"/>
          <a:ext cx="2842899" cy="161378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Hospitalized requiring &gt; supplemental O2</a:t>
          </a:r>
        </a:p>
      </dsp:txBody>
      <dsp:txXfrm>
        <a:off x="78778" y="3470171"/>
        <a:ext cx="2685343" cy="145622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7D9DFC-B197-D14C-85CC-83FC7C55394A}">
      <dsp:nvSpPr>
        <dsp:cNvPr id="0" name=""/>
        <dsp:cNvSpPr/>
      </dsp:nvSpPr>
      <dsp:spPr>
        <a:xfrm>
          <a:off x="148084" y="636900"/>
          <a:ext cx="3357891" cy="1049341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10754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Regeneron Anti-Spike Ambulatory and Inpatient</a:t>
          </a:r>
        </a:p>
      </dsp:txBody>
      <dsp:txXfrm>
        <a:off x="148084" y="636900"/>
        <a:ext cx="3357891" cy="1049341"/>
      </dsp:txXfrm>
    </dsp:sp>
    <dsp:sp modelId="{1D78BBEF-20CD-1948-91D1-E1298178BFC1}">
      <dsp:nvSpPr>
        <dsp:cNvPr id="0" name=""/>
        <dsp:cNvSpPr/>
      </dsp:nvSpPr>
      <dsp:spPr>
        <a:xfrm>
          <a:off x="8172" y="485328"/>
          <a:ext cx="734538" cy="1101808"/>
        </a:xfrm>
        <a:prstGeom prst="rect">
          <a:avLst/>
        </a:prstGeom>
        <a:solidFill>
          <a:schemeClr val="accent5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p3d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F15A13E-2682-6D4C-910C-D2AE764D411F}">
      <dsp:nvSpPr>
        <dsp:cNvPr id="0" name=""/>
        <dsp:cNvSpPr/>
      </dsp:nvSpPr>
      <dsp:spPr>
        <a:xfrm>
          <a:off x="3842686" y="636900"/>
          <a:ext cx="3357891" cy="1049341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10754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 err="1"/>
            <a:t>CytoDyn</a:t>
          </a:r>
          <a:endParaRPr lang="en-US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Monoclonal AB</a:t>
          </a:r>
        </a:p>
      </dsp:txBody>
      <dsp:txXfrm>
        <a:off x="3842686" y="636900"/>
        <a:ext cx="3357891" cy="1049341"/>
      </dsp:txXfrm>
    </dsp:sp>
    <dsp:sp modelId="{C1174766-264D-9A40-8A7D-2351AB54B312}">
      <dsp:nvSpPr>
        <dsp:cNvPr id="0" name=""/>
        <dsp:cNvSpPr/>
      </dsp:nvSpPr>
      <dsp:spPr>
        <a:xfrm>
          <a:off x="3702774" y="485328"/>
          <a:ext cx="734538" cy="1101808"/>
        </a:xfrm>
        <a:prstGeom prst="rect">
          <a:avLst/>
        </a:prstGeom>
        <a:solidFill>
          <a:schemeClr val="accent5">
            <a:tint val="50000"/>
            <a:hueOff val="-971124"/>
            <a:satOff val="4329"/>
            <a:lumOff val="382"/>
            <a:alphaOff val="0"/>
          </a:schemeClr>
        </a:solidFill>
        <a:ln>
          <a:noFill/>
        </a:ln>
        <a:effectLst/>
        <a:sp3d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9E973D-C323-9D4E-A5D5-395FE6226D2B}">
      <dsp:nvSpPr>
        <dsp:cNvPr id="0" name=""/>
        <dsp:cNvSpPr/>
      </dsp:nvSpPr>
      <dsp:spPr>
        <a:xfrm>
          <a:off x="7537287" y="636900"/>
          <a:ext cx="3357891" cy="1049341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10754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 err="1"/>
            <a:t>Baricitinib</a:t>
          </a:r>
          <a:endParaRPr lang="en-US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Anti-Inflammatory JAK inhibitor</a:t>
          </a:r>
        </a:p>
      </dsp:txBody>
      <dsp:txXfrm>
        <a:off x="7537287" y="636900"/>
        <a:ext cx="3357891" cy="1049341"/>
      </dsp:txXfrm>
    </dsp:sp>
    <dsp:sp modelId="{D0C29860-FCF6-8C47-991D-95F90B360F84}">
      <dsp:nvSpPr>
        <dsp:cNvPr id="0" name=""/>
        <dsp:cNvSpPr/>
      </dsp:nvSpPr>
      <dsp:spPr>
        <a:xfrm>
          <a:off x="7397375" y="485328"/>
          <a:ext cx="734538" cy="1101808"/>
        </a:xfrm>
        <a:prstGeom prst="rect">
          <a:avLst/>
        </a:prstGeom>
        <a:solidFill>
          <a:schemeClr val="accent5">
            <a:tint val="50000"/>
            <a:hueOff val="-1942248"/>
            <a:satOff val="8658"/>
            <a:lumOff val="765"/>
            <a:alphaOff val="0"/>
          </a:schemeClr>
        </a:solidFill>
        <a:ln>
          <a:noFill/>
        </a:ln>
        <a:effectLst/>
        <a:sp3d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EB4F75-F9D0-8C41-847D-3CD35D6F3B62}">
      <dsp:nvSpPr>
        <dsp:cNvPr id="0" name=""/>
        <dsp:cNvSpPr/>
      </dsp:nvSpPr>
      <dsp:spPr>
        <a:xfrm>
          <a:off x="148084" y="1957904"/>
          <a:ext cx="3357891" cy="1049341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10754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Roche EMPACTA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2 </a:t>
          </a:r>
          <a:r>
            <a:rPr lang="en-US" sz="1300" kern="1200" dirty="0" err="1"/>
            <a:t>Monclonal</a:t>
          </a:r>
          <a:r>
            <a:rPr lang="en-US" sz="1300" kern="1200" dirty="0"/>
            <a:t> AB (non-competitive)</a:t>
          </a:r>
        </a:p>
      </dsp:txBody>
      <dsp:txXfrm>
        <a:off x="148084" y="1957904"/>
        <a:ext cx="3357891" cy="1049341"/>
      </dsp:txXfrm>
    </dsp:sp>
    <dsp:sp modelId="{2ED8083A-9CDD-9346-85E5-416331EAE799}">
      <dsp:nvSpPr>
        <dsp:cNvPr id="0" name=""/>
        <dsp:cNvSpPr/>
      </dsp:nvSpPr>
      <dsp:spPr>
        <a:xfrm>
          <a:off x="8172" y="1806332"/>
          <a:ext cx="734538" cy="1101808"/>
        </a:xfrm>
        <a:prstGeom prst="rect">
          <a:avLst/>
        </a:prstGeom>
        <a:solidFill>
          <a:schemeClr val="accent5">
            <a:tint val="50000"/>
            <a:hueOff val="-2913373"/>
            <a:satOff val="12986"/>
            <a:lumOff val="1147"/>
            <a:alphaOff val="0"/>
          </a:schemeClr>
        </a:solidFill>
        <a:ln>
          <a:noFill/>
        </a:ln>
        <a:effectLst/>
        <a:sp3d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637EED5-4D3C-3B40-9462-9FE54E905CF6}">
      <dsp:nvSpPr>
        <dsp:cNvPr id="0" name=""/>
        <dsp:cNvSpPr/>
      </dsp:nvSpPr>
      <dsp:spPr>
        <a:xfrm>
          <a:off x="3842686" y="1957904"/>
          <a:ext cx="3357891" cy="1049341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10754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 err="1"/>
            <a:t>NeuroRx</a:t>
          </a:r>
          <a:endParaRPr lang="en-US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Vasoactive Intestinal Peptide (cytokine blocker)</a:t>
          </a:r>
        </a:p>
      </dsp:txBody>
      <dsp:txXfrm>
        <a:off x="3842686" y="1957904"/>
        <a:ext cx="3357891" cy="1049341"/>
      </dsp:txXfrm>
    </dsp:sp>
    <dsp:sp modelId="{47F01B85-BE78-D447-8FC6-3C9A44562F1C}">
      <dsp:nvSpPr>
        <dsp:cNvPr id="0" name=""/>
        <dsp:cNvSpPr/>
      </dsp:nvSpPr>
      <dsp:spPr>
        <a:xfrm>
          <a:off x="3702774" y="1806332"/>
          <a:ext cx="734538" cy="1101808"/>
        </a:xfrm>
        <a:prstGeom prst="rect">
          <a:avLst/>
        </a:prstGeom>
        <a:solidFill>
          <a:schemeClr val="accent5">
            <a:tint val="50000"/>
            <a:hueOff val="-3884497"/>
            <a:satOff val="17315"/>
            <a:lumOff val="1530"/>
            <a:alphaOff val="0"/>
          </a:schemeClr>
        </a:solidFill>
        <a:ln>
          <a:noFill/>
        </a:ln>
        <a:effectLst/>
        <a:sp3d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4682E15-E7CB-5140-99A1-0AC1BC9341BF}">
      <dsp:nvSpPr>
        <dsp:cNvPr id="0" name=""/>
        <dsp:cNvSpPr/>
      </dsp:nvSpPr>
      <dsp:spPr>
        <a:xfrm>
          <a:off x="7537287" y="1957904"/>
          <a:ext cx="3357891" cy="1049341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10754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Genentech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 err="1"/>
            <a:t>Remdacta</a:t>
          </a:r>
          <a:r>
            <a:rPr lang="en-US" sz="1300" kern="1200" dirty="0"/>
            <a:t>/</a:t>
          </a:r>
          <a:r>
            <a:rPr lang="en-US" sz="1300" kern="1200" dirty="0" err="1"/>
            <a:t>Covacta</a:t>
          </a:r>
          <a:r>
            <a:rPr lang="en-US" sz="1300" kern="1200" dirty="0"/>
            <a:t> + </a:t>
          </a:r>
          <a:r>
            <a:rPr lang="en-US" sz="1300" kern="1200" dirty="0" err="1"/>
            <a:t>Remdesivir</a:t>
          </a:r>
          <a:endParaRPr lang="en-US" sz="1300" kern="1200" dirty="0"/>
        </a:p>
      </dsp:txBody>
      <dsp:txXfrm>
        <a:off x="7537287" y="1957904"/>
        <a:ext cx="3357891" cy="1049341"/>
      </dsp:txXfrm>
    </dsp:sp>
    <dsp:sp modelId="{22EAC2D3-FC54-1C4C-A5BF-E04FCF7591AA}">
      <dsp:nvSpPr>
        <dsp:cNvPr id="0" name=""/>
        <dsp:cNvSpPr/>
      </dsp:nvSpPr>
      <dsp:spPr>
        <a:xfrm>
          <a:off x="7397375" y="1806332"/>
          <a:ext cx="734538" cy="1101808"/>
        </a:xfrm>
        <a:prstGeom prst="rect">
          <a:avLst/>
        </a:prstGeom>
        <a:solidFill>
          <a:schemeClr val="accent5">
            <a:tint val="50000"/>
            <a:hueOff val="-4855621"/>
            <a:satOff val="21644"/>
            <a:lumOff val="1912"/>
            <a:alphaOff val="0"/>
          </a:schemeClr>
        </a:solidFill>
        <a:ln>
          <a:noFill/>
        </a:ln>
        <a:effectLst/>
        <a:sp3d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17E092-5F7D-F444-BED5-31C99385CB1D}">
      <dsp:nvSpPr>
        <dsp:cNvPr id="0" name=""/>
        <dsp:cNvSpPr/>
      </dsp:nvSpPr>
      <dsp:spPr>
        <a:xfrm>
          <a:off x="148084" y="3278908"/>
          <a:ext cx="3357891" cy="1049341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10754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 err="1"/>
            <a:t>Avita</a:t>
          </a:r>
          <a:endParaRPr lang="en-US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/>
            <a:t>patient-specific dendritic cell vaccine</a:t>
          </a:r>
          <a:endParaRPr lang="en-US" sz="1300" kern="1200" dirty="0"/>
        </a:p>
      </dsp:txBody>
      <dsp:txXfrm>
        <a:off x="148084" y="3278908"/>
        <a:ext cx="3357891" cy="1049341"/>
      </dsp:txXfrm>
    </dsp:sp>
    <dsp:sp modelId="{6C162C4D-3A80-E54D-A447-DDE53F6F82A9}">
      <dsp:nvSpPr>
        <dsp:cNvPr id="0" name=""/>
        <dsp:cNvSpPr/>
      </dsp:nvSpPr>
      <dsp:spPr>
        <a:xfrm>
          <a:off x="8172" y="3127336"/>
          <a:ext cx="734538" cy="1101808"/>
        </a:xfrm>
        <a:prstGeom prst="rect">
          <a:avLst/>
        </a:prstGeom>
        <a:solidFill>
          <a:schemeClr val="accent5">
            <a:tint val="50000"/>
            <a:hueOff val="-5826745"/>
            <a:satOff val="25973"/>
            <a:lumOff val="2295"/>
            <a:alphaOff val="0"/>
          </a:schemeClr>
        </a:solidFill>
        <a:ln>
          <a:noFill/>
        </a:ln>
        <a:effectLst/>
        <a:sp3d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EF3FEAF-A569-7A45-A45B-C5A771D0275F}">
      <dsp:nvSpPr>
        <dsp:cNvPr id="0" name=""/>
        <dsp:cNvSpPr/>
      </dsp:nvSpPr>
      <dsp:spPr>
        <a:xfrm>
          <a:off x="3842686" y="3278908"/>
          <a:ext cx="3357891" cy="1049341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10754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 err="1"/>
            <a:t>BeiGene</a:t>
          </a:r>
          <a:endParaRPr lang="en-US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/>
            <a:t>zanubrutinib</a:t>
          </a:r>
          <a:endParaRPr lang="en-US" sz="1300" kern="1200" dirty="0"/>
        </a:p>
      </dsp:txBody>
      <dsp:txXfrm>
        <a:off x="3842686" y="3278908"/>
        <a:ext cx="3357891" cy="1049341"/>
      </dsp:txXfrm>
    </dsp:sp>
    <dsp:sp modelId="{8242F5D1-46D0-1F4D-80F6-8113D5FCFF0D}">
      <dsp:nvSpPr>
        <dsp:cNvPr id="0" name=""/>
        <dsp:cNvSpPr/>
      </dsp:nvSpPr>
      <dsp:spPr>
        <a:xfrm>
          <a:off x="3702774" y="3127336"/>
          <a:ext cx="734538" cy="1101808"/>
        </a:xfrm>
        <a:prstGeom prst="rect">
          <a:avLst/>
        </a:prstGeom>
        <a:solidFill>
          <a:schemeClr val="accent5">
            <a:tint val="50000"/>
            <a:hueOff val="-6797869"/>
            <a:satOff val="30302"/>
            <a:lumOff val="2677"/>
            <a:alphaOff val="0"/>
          </a:schemeClr>
        </a:solidFill>
        <a:ln>
          <a:noFill/>
        </a:ln>
        <a:effectLst/>
        <a:sp3d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CE8E2C-AE83-8B49-9DB8-47B412373B0B}">
      <dsp:nvSpPr>
        <dsp:cNvPr id="0" name=""/>
        <dsp:cNvSpPr/>
      </dsp:nvSpPr>
      <dsp:spPr>
        <a:xfrm>
          <a:off x="7537287" y="3278908"/>
          <a:ext cx="3357891" cy="1049341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10754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Roche REMDACTA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b="0" i="0" u="none" kern="1200" dirty="0" err="1"/>
            <a:t>Actemra</a:t>
          </a:r>
          <a:r>
            <a:rPr lang="en-US" sz="1300" b="0" i="0" u="none" kern="1200" dirty="0"/>
            <a:t>/</a:t>
          </a:r>
          <a:br>
            <a:rPr lang="en-US" sz="1300" b="0" i="0" u="none" kern="1200" dirty="0"/>
          </a:br>
          <a:r>
            <a:rPr lang="en-US" sz="1300" b="0" i="0" u="none" kern="1200" dirty="0" err="1"/>
            <a:t>RoActrema</a:t>
          </a:r>
          <a:r>
            <a:rPr lang="en-US" sz="1300" b="0" i="0" u="none" kern="1200" dirty="0"/>
            <a:t> (Anti-IL-6) plus </a:t>
          </a:r>
          <a:r>
            <a:rPr lang="en-US" sz="1300" b="0" i="0" u="none" kern="1200" dirty="0" err="1"/>
            <a:t>remdesivir</a:t>
          </a:r>
          <a:endParaRPr lang="en-US" sz="1300" kern="1200" dirty="0"/>
        </a:p>
      </dsp:txBody>
      <dsp:txXfrm>
        <a:off x="7537287" y="3278908"/>
        <a:ext cx="3357891" cy="1049341"/>
      </dsp:txXfrm>
    </dsp:sp>
    <dsp:sp modelId="{8A47B775-A616-7C4B-AEA4-99386078EDAC}">
      <dsp:nvSpPr>
        <dsp:cNvPr id="0" name=""/>
        <dsp:cNvSpPr/>
      </dsp:nvSpPr>
      <dsp:spPr>
        <a:xfrm>
          <a:off x="7397375" y="3127336"/>
          <a:ext cx="734538" cy="1101808"/>
        </a:xfrm>
        <a:prstGeom prst="rect">
          <a:avLst/>
        </a:prstGeom>
        <a:solidFill>
          <a:schemeClr val="accent5">
            <a:tint val="50000"/>
            <a:hueOff val="-7768994"/>
            <a:satOff val="34631"/>
            <a:lumOff val="3060"/>
            <a:alphaOff val="0"/>
          </a:schemeClr>
        </a:solidFill>
        <a:ln>
          <a:noFill/>
        </a:ln>
        <a:effectLst/>
        <a:sp3d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6FA6A7-8A99-5A45-A9BB-D6AF68470B21}">
      <dsp:nvSpPr>
        <dsp:cNvPr id="0" name=""/>
        <dsp:cNvSpPr/>
      </dsp:nvSpPr>
      <dsp:spPr>
        <a:xfrm>
          <a:off x="148084" y="4599912"/>
          <a:ext cx="3357891" cy="1049341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10754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Mayo Convalescent Plasma</a:t>
          </a:r>
        </a:p>
      </dsp:txBody>
      <dsp:txXfrm>
        <a:off x="148084" y="4599912"/>
        <a:ext cx="3357891" cy="1049341"/>
      </dsp:txXfrm>
    </dsp:sp>
    <dsp:sp modelId="{3A128F3B-5452-3F49-8874-2C6D6E79B8D0}">
      <dsp:nvSpPr>
        <dsp:cNvPr id="0" name=""/>
        <dsp:cNvSpPr/>
      </dsp:nvSpPr>
      <dsp:spPr>
        <a:xfrm>
          <a:off x="8172" y="4448340"/>
          <a:ext cx="734538" cy="1101808"/>
        </a:xfrm>
        <a:prstGeom prst="rect">
          <a:avLst/>
        </a:prstGeom>
        <a:solidFill>
          <a:schemeClr val="accent5">
            <a:tint val="50000"/>
            <a:hueOff val="-8740117"/>
            <a:satOff val="38959"/>
            <a:lumOff val="3442"/>
            <a:alphaOff val="0"/>
          </a:schemeClr>
        </a:solidFill>
        <a:ln>
          <a:noFill/>
        </a:ln>
        <a:effectLst/>
        <a:sp3d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D60D9C-1474-9643-89A3-3A86AC4BC06A}">
      <dsp:nvSpPr>
        <dsp:cNvPr id="0" name=""/>
        <dsp:cNvSpPr/>
      </dsp:nvSpPr>
      <dsp:spPr>
        <a:xfrm>
          <a:off x="3842686" y="4599912"/>
          <a:ext cx="3357891" cy="1049341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10754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AstraZeneca CALAVI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/>
            <a:t>selective BTK inhibitor</a:t>
          </a:r>
          <a:endParaRPr lang="en-US" sz="1300" kern="1200" dirty="0"/>
        </a:p>
      </dsp:txBody>
      <dsp:txXfrm>
        <a:off x="3842686" y="4599912"/>
        <a:ext cx="3357891" cy="1049341"/>
      </dsp:txXfrm>
    </dsp:sp>
    <dsp:sp modelId="{B1998EEE-03D0-134F-B05E-47059B404BA3}">
      <dsp:nvSpPr>
        <dsp:cNvPr id="0" name=""/>
        <dsp:cNvSpPr/>
      </dsp:nvSpPr>
      <dsp:spPr>
        <a:xfrm>
          <a:off x="3702774" y="4448340"/>
          <a:ext cx="734538" cy="1101808"/>
        </a:xfrm>
        <a:prstGeom prst="rect">
          <a:avLst/>
        </a:prstGeom>
        <a:solidFill>
          <a:schemeClr val="accent5">
            <a:tint val="50000"/>
            <a:hueOff val="-9711242"/>
            <a:satOff val="43288"/>
            <a:lumOff val="3825"/>
            <a:alphaOff val="0"/>
          </a:schemeClr>
        </a:solidFill>
        <a:ln>
          <a:noFill/>
        </a:ln>
        <a:effectLst/>
        <a:sp3d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B0A6C1-115C-F747-A784-BACACC6E2835}">
      <dsp:nvSpPr>
        <dsp:cNvPr id="0" name=""/>
        <dsp:cNvSpPr/>
      </dsp:nvSpPr>
      <dsp:spPr>
        <a:xfrm>
          <a:off x="7537287" y="4599912"/>
          <a:ext cx="3357891" cy="1049341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10754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Novartis Bispecific AB</a:t>
          </a:r>
        </a:p>
      </dsp:txBody>
      <dsp:txXfrm>
        <a:off x="7537287" y="4599912"/>
        <a:ext cx="3357891" cy="1049341"/>
      </dsp:txXfrm>
    </dsp:sp>
    <dsp:sp modelId="{20AEB8F2-9534-D941-A1E1-E8C6E1788E1B}">
      <dsp:nvSpPr>
        <dsp:cNvPr id="0" name=""/>
        <dsp:cNvSpPr/>
      </dsp:nvSpPr>
      <dsp:spPr>
        <a:xfrm>
          <a:off x="7397375" y="4448340"/>
          <a:ext cx="734538" cy="1101808"/>
        </a:xfrm>
        <a:prstGeom prst="rect">
          <a:avLst/>
        </a:prstGeom>
        <a:solidFill>
          <a:schemeClr val="accent5">
            <a:tint val="50000"/>
            <a:hueOff val="-10682366"/>
            <a:satOff val="47617"/>
            <a:lumOff val="4207"/>
            <a:alphaOff val="0"/>
          </a:schemeClr>
        </a:solidFill>
        <a:ln>
          <a:noFill/>
        </a:ln>
        <a:effectLst/>
        <a:sp3d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9">
  <dgm:title val=""/>
  <dgm:desc val=""/>
  <dgm:catLst>
    <dgm:cat type="3D" pri="11900"/>
  </dgm:catLst>
  <dgm:scene3d>
    <a:camera prst="perspectiveRelaxed">
      <a:rot lat="19149996" lon="20104178" rev="1577324"/>
    </a:camera>
    <a:lightRig rig="soft" dir="t"/>
    <a:backdrop>
      <a:anchor x="0" y="0" z="-210000"/>
      <a:norm dx="0" dy="0" dz="914400"/>
      <a:up dx="0" dy="914400" dz="0"/>
    </a:backdrop>
  </dgm:scene3d>
  <dgm:styleLbl name="node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>
      <a:sp3d extrusionH="28000" prstMaterial="matte"/>
    </dgm:txPr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BF05DB2C-8DCE-4461-A4C0-829B572BD36F}" type="datetimeFigureOut">
              <a:rPr lang="en-US" smtClean="0"/>
              <a:t>8/21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0DD41161-6CC1-40CF-BFAD-D1410EEE27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8589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iaid.nih.gov/news-events/nih-clinical-trial-remdesivir-treat-covid-19-begins" TargetMode="External"/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niaid.nih.gov/diseases-conditions/coronaviruses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3411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0-day group included a higher percentage of </a:t>
            </a:r>
            <a:r>
              <a:rPr lang="en-US" dirty="0" err="1"/>
              <a:t>pts</a:t>
            </a:r>
            <a:r>
              <a:rPr lang="en-US" dirty="0"/>
              <a:t> in the most severe disease categories and a higher proportion of men (who are known to have worse COVID-19 outcomes than women)</a:t>
            </a:r>
          </a:p>
          <a:p>
            <a:r>
              <a:rPr lang="en-US" dirty="0"/>
              <a:t> Goldman JD, Lye DCB, </a:t>
            </a:r>
            <a:r>
              <a:rPr lang="en-US" dirty="0" err="1"/>
              <a:t>Hui</a:t>
            </a:r>
            <a:r>
              <a:rPr lang="en-US" dirty="0"/>
              <a:t> DS, et al. </a:t>
            </a:r>
            <a:r>
              <a:rPr lang="en-US" dirty="0" err="1"/>
              <a:t>Remdesivir</a:t>
            </a:r>
            <a:r>
              <a:rPr lang="en-US" dirty="0"/>
              <a:t> for 5 or 10 days in patients with severe covid-19. N </a:t>
            </a:r>
            <a:r>
              <a:rPr lang="en-US" dirty="0" err="1"/>
              <a:t>Engl</a:t>
            </a:r>
            <a:r>
              <a:rPr lang="en-US" dirty="0"/>
              <a:t> J Med. 2020 May 27. PMID: 32459919 DOI: 10.1056/NEJMoa201530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1A21D7-929C-4110-B503-3B26106AE3C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38537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ilead Sciences. Gilead presents additional data on investigational </a:t>
            </a:r>
            <a:r>
              <a:rPr lang="en-US" dirty="0" err="1"/>
              <a:t>remdesivir</a:t>
            </a:r>
            <a:r>
              <a:rPr lang="en-US" dirty="0"/>
              <a:t> for the treatment of COVID-19. Press release. 2020 Jul 10. Available at https://www.gilead.com/news-and-press/press-room/press-releases/2020/7/gilead-presents-additional-data-on-investigational-antiviral-remdesivir-for-the-treatment-of-covid-19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1A21D7-929C-4110-B503-3B26106AE3C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59583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30. Gilead Sciences. Gilead announces results from phase 3 trial of </a:t>
            </a:r>
            <a:r>
              <a:rPr lang="en-US" dirty="0" err="1"/>
              <a:t>remdesivir</a:t>
            </a:r>
            <a:r>
              <a:rPr lang="en-US" dirty="0"/>
              <a:t> in patients with moderate COVID-19. Press release. 2020 Jun 1. Available at https://www.gilead.com/news-andpress/press-room/press-releases/2020/6/gilead-announces-results-from-phase-3-trial-of-remdesivir-in-patients-with-moderate-covid-19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1A21D7-929C-4110-B503-3B26106AE3C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8826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31. Adaptive COVID-19 treatment trial 2 (ACTT-II). NCT04401579. (https://www.clinicaltrials.gov/ct2/show/NCT04401579)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1A21D7-929C-4110-B503-3B26106AE3C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1122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5956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8419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946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8955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8/14: CMC has 10 patients on treatment and 10 rounds remaining (83 vials remaining). Plainview has 0 patients on treatment and 12 rounds remaining (74 vials)</a:t>
            </a:r>
            <a:endParaRPr lang="en-GB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cording to the summary of the China study,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mdesivi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as “not associated with a difference in time to clinical improvement” compared to a standard of care control. After one month, it appeared 13.9% of the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mdesivi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atients had died compared to 12.8% of patients in the control arm. The difference was not statistically significant.</a:t>
            </a:r>
          </a:p>
          <a:p>
            <a:endParaRPr lang="en-GB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spitalized patients with advanced COVID-19 and lung involvement who received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mdesivi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ecovered faster than similar patients who received placebo, according to a preliminary data analysis from a randomized, controlled trial involving 1063 patients, which began on February 21. The trial (known as the 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daptive COVID-19 Treatment Trial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or ACTT), sponsored by the 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National Institute of Allergy and Infectious Diseases (NIAID)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part of the National Institutes of Health, is the first clinical trial launched in the United States to evaluate an experimental treatment for COVID-19. Preliminary results indicate that patients who received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mdesivi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d a 31% faster time to recovery than those who received placebo (p&lt;0.001). Specifically, the median time to recovery was 11 days for patients treated with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mdesivi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mpared with 15 days for those who received placebo. Results also suggested a survival benefit, with a mortality rate of 8.0% for the group receiving </a:t>
            </a:r>
            <a:r>
              <a:rPr lang="en-GB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mdesivir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ersus 11.6% for the placebo group (p=0.059). Recovery in this study was defined as being well enough for hospital discharge or returning to normal activity level. </a:t>
            </a:r>
          </a:p>
          <a:p>
            <a:endParaRPr lang="en-GB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YI</a:t>
            </a:r>
            <a:r>
              <a:rPr lang="en-GB" sz="12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udesonide: In response to 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dessa doctor, Richard Bartlett, who calls it the 'silver bullet‘. 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re have been no clinical trials or observational studies examining the use of ICS in COVID-19. Clinical trials would be required to establish whether these drugs may be repurposed for the treatment of this diseas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41161-6CC1-40CF-BFAD-D1410EEE27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07100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41161-6CC1-40CF-BFAD-D1410EEE27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06298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Because there is uncertainty regarding whether starting </a:t>
            </a:r>
            <a:r>
              <a:rPr lang="en-US" dirty="0" err="1"/>
              <a:t>remdesivir</a:t>
            </a:r>
            <a:r>
              <a:rPr lang="en-US" dirty="0"/>
              <a:t> confers clinical benefit in these groups of patients, the Panel cannot make a recommendation either for or against starting </a:t>
            </a:r>
            <a:r>
              <a:rPr lang="en-US" dirty="0" err="1"/>
              <a:t>remdesivir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1A21D7-929C-4110-B503-3B26106AE3C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62449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ang Y, Zhang D, Du G, et al. </a:t>
            </a:r>
            <a:r>
              <a:rPr lang="en-US" dirty="0" err="1"/>
              <a:t>Remdesivir</a:t>
            </a:r>
            <a:r>
              <a:rPr lang="en-US" dirty="0"/>
              <a:t> in adults with severe COVID-19: a randomized, double-blind, placebo-controlled, </a:t>
            </a:r>
            <a:r>
              <a:rPr lang="en-US" dirty="0" err="1"/>
              <a:t>multicentre</a:t>
            </a:r>
            <a:r>
              <a:rPr lang="en-US" dirty="0"/>
              <a:t> trial. Lancet. 2020; 395: 1569-78. PMID: 32423584 DOI:</a:t>
            </a:r>
          </a:p>
          <a:p>
            <a:r>
              <a:rPr lang="en-US" dirty="0"/>
              <a:t>10.1016/S0140-6736(20)31022-9. (https://doi.org/10.1016/S0140-6736(20)31022-9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1A21D7-929C-4110-B503-3B26106AE3C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19314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8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5.v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9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image" Target="../media/image10.png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tags" Target="../tags/tag56.xml"/><Relationship Id="rId11" Type="http://schemas.openxmlformats.org/officeDocument/2006/relationships/image" Target="../media/image8.emf"/><Relationship Id="rId5" Type="http://schemas.openxmlformats.org/officeDocument/2006/relationships/tags" Target="../tags/tag55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4.xml"/><Relationship Id="rId9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10.png"/><Relationship Id="rId2" Type="http://schemas.openxmlformats.org/officeDocument/2006/relationships/tags" Target="../tags/tag59.xml"/><Relationship Id="rId1" Type="http://schemas.openxmlformats.org/officeDocument/2006/relationships/vmlDrawing" Target="../drawings/vmlDrawing7.vml"/><Relationship Id="rId6" Type="http://schemas.openxmlformats.org/officeDocument/2006/relationships/tags" Target="../tags/tag63.xml"/><Relationship Id="rId11" Type="http://schemas.openxmlformats.org/officeDocument/2006/relationships/image" Target="../media/image8.emf"/><Relationship Id="rId5" Type="http://schemas.openxmlformats.org/officeDocument/2006/relationships/tags" Target="../tags/tag62.xml"/><Relationship Id="rId10" Type="http://schemas.openxmlformats.org/officeDocument/2006/relationships/oleObject" Target="../embeddings/oleObject7.bin"/><Relationship Id="rId4" Type="http://schemas.openxmlformats.org/officeDocument/2006/relationships/tags" Target="../tags/tag61.xml"/><Relationship Id="rId9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10.png"/><Relationship Id="rId2" Type="http://schemas.openxmlformats.org/officeDocument/2006/relationships/tags" Target="../tags/tag66.xml"/><Relationship Id="rId1" Type="http://schemas.openxmlformats.org/officeDocument/2006/relationships/vmlDrawing" Target="../drawings/vmlDrawing8.vml"/><Relationship Id="rId6" Type="http://schemas.openxmlformats.org/officeDocument/2006/relationships/tags" Target="../tags/tag70.xml"/><Relationship Id="rId11" Type="http://schemas.openxmlformats.org/officeDocument/2006/relationships/image" Target="../media/image8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8.xml"/><Relationship Id="rId9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image" Target="../media/image10.png"/><Relationship Id="rId2" Type="http://schemas.openxmlformats.org/officeDocument/2006/relationships/tags" Target="../tags/tag73.xml"/><Relationship Id="rId1" Type="http://schemas.openxmlformats.org/officeDocument/2006/relationships/vmlDrawing" Target="../drawings/vmlDrawing9.vml"/><Relationship Id="rId6" Type="http://schemas.openxmlformats.org/officeDocument/2006/relationships/tags" Target="../tags/tag77.xml"/><Relationship Id="rId11" Type="http://schemas.openxmlformats.org/officeDocument/2006/relationships/image" Target="../media/image11.emf"/><Relationship Id="rId5" Type="http://schemas.openxmlformats.org/officeDocument/2006/relationships/tags" Target="../tags/tag76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5.xml"/><Relationship Id="rId9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1.xml"/><Relationship Id="rId7" Type="http://schemas.openxmlformats.org/officeDocument/2006/relationships/image" Target="../media/image9.emf"/><Relationship Id="rId2" Type="http://schemas.openxmlformats.org/officeDocument/2006/relationships/tags" Target="../tags/tag8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4.xml"/><Relationship Id="rId7" Type="http://schemas.openxmlformats.org/officeDocument/2006/relationships/image" Target="../media/image9.emf"/><Relationship Id="rId2" Type="http://schemas.openxmlformats.org/officeDocument/2006/relationships/tags" Target="../tags/tag8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5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7.xml"/><Relationship Id="rId7" Type="http://schemas.openxmlformats.org/officeDocument/2006/relationships/image" Target="../media/image9.emf"/><Relationship Id="rId2" Type="http://schemas.openxmlformats.org/officeDocument/2006/relationships/tags" Target="../tags/tag8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8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90.xml"/><Relationship Id="rId7" Type="http://schemas.openxmlformats.org/officeDocument/2006/relationships/image" Target="../media/image9.emf"/><Relationship Id="rId2" Type="http://schemas.openxmlformats.org/officeDocument/2006/relationships/tags" Target="../tags/tag89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1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93.xml"/><Relationship Id="rId7" Type="http://schemas.openxmlformats.org/officeDocument/2006/relationships/image" Target="../media/image9.emf"/><Relationship Id="rId2" Type="http://schemas.openxmlformats.org/officeDocument/2006/relationships/tags" Target="../tags/tag9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12.jpeg"/><Relationship Id="rId2" Type="http://schemas.openxmlformats.org/officeDocument/2006/relationships/tags" Target="../tags/tag9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2979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8/21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71488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8/21/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6099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2824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781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29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891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1902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979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CA19B9-F791-490A-852D-FC90925EBF74}" type="datetimeFigureOut">
              <a:rPr lang="en-US" smtClean="0">
                <a:solidFill>
                  <a:srgbClr val="00338E"/>
                </a:solidFill>
              </a:rPr>
              <a:pPr/>
              <a:t>8/21/20</a:t>
            </a:fld>
            <a:endParaRPr lang="en-US">
              <a:solidFill>
                <a:srgbClr val="00338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338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1BBCC12-4016-4C10-BE1F-F601FB5468B2}" type="slidenum">
              <a:rPr lang="en-US" smtClean="0">
                <a:solidFill>
                  <a:srgbClr val="00338E"/>
                </a:solidFill>
              </a:rPr>
              <a:pPr/>
              <a:t>‹#›</a:t>
            </a:fld>
            <a:endParaRPr lang="en-US">
              <a:solidFill>
                <a:srgbClr val="0033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446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8/21/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27008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3959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9B96C0B-CE9F-415C-B7B7-298E88FDAF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B4208225-5C22-496E-A342-E94D62C18FDC}"/>
              </a:ext>
            </a:extLst>
          </p:cNvPr>
          <p:cNvSpPr/>
          <p:nvPr userDrawn="1"/>
        </p:nvSpPr>
        <p:spPr bwMode="ltGray">
          <a:xfrm>
            <a:off x="1" y="1681162"/>
            <a:ext cx="12191999" cy="3657600"/>
          </a:xfrm>
          <a:prstGeom prst="rect">
            <a:avLst/>
          </a:prstGeom>
          <a:solidFill>
            <a:srgbClr val="0070C0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l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solidFill>
                <a:srgbClr val="FF0000"/>
              </a:solidFill>
            </a:endParaRPr>
          </a:p>
        </p:txBody>
      </p:sp>
      <p:pic>
        <p:nvPicPr>
          <p:cNvPr id="12" name="fullColor.png" descr="fullColor.png">
            <a:extLst>
              <a:ext uri="{FF2B5EF4-FFF2-40B4-BE49-F238E27FC236}">
                <a16:creationId xmlns:a16="http://schemas.microsoft.com/office/drawing/2014/main" id="{63F392A6-21B5-4CA6-A199-930BFED2A68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8838424" y="448769"/>
            <a:ext cx="2665449" cy="711694"/>
          </a:xfrm>
          <a:prstGeom prst="rect">
            <a:avLst/>
          </a:prstGeom>
          <a:ln w="12700">
            <a:miter lim="400000"/>
          </a:ln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551941" y="3294405"/>
            <a:ext cx="10951931" cy="6771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x-none" sz="44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551941" y="4092559"/>
            <a:ext cx="10951931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x-none" sz="2000" cap="none" baseline="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54735" y="4510168"/>
            <a:ext cx="1095193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8710195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1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554736" y="246620"/>
            <a:ext cx="11082528" cy="3847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8195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5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46620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43467"/>
            <a:ext cx="11082528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285494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600923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453724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96E2AE-3155-4B50-B469-1C6FC4A4E2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9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96E2AE-3155-4B50-B469-1C6FC4A4E2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F0BF83-D6CE-4BC4-83E3-5F38B15C21A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”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5476603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359648"/>
            <a:ext cx="2514600" cy="1154162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23" name="reversed.png" descr="reversed.png">
            <a:extLst>
              <a:ext uri="{FF2B5EF4-FFF2-40B4-BE49-F238E27FC236}">
                <a16:creationId xmlns:a16="http://schemas.microsoft.com/office/drawing/2014/main" id="{96E85E65-2265-4679-B415-04F1E07BFD02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BE789725-D96B-413F-A907-EA3CA4B4572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71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1A495E3F-C9AC-45DB-A1FD-80270B8ADEA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0227C4C6-C6A6-4C74-A71D-7CD44A2345F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3407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1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46620"/>
            <a:ext cx="5065776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43467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403792B7-C3B3-48DB-8D42-D35C5184D01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7C0B786-0B98-435B-AB5F-505441ABF9C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9165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5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46620"/>
            <a:ext cx="69677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43467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AA6DB52C-4CD9-4639-A05F-3E56A6FF3B1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4C54C6C4-C237-4A49-9CA3-3186AEED208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09606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4642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7F8BA957-435D-48C8-94A2-7E6DEB7B0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9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7F8BA957-435D-48C8-94A2-7E6DEB7B04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3184617-13BF-4A05-8E66-DE91493DF4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2FEE25A2-0DAB-416D-860E-D165916B70F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472C4">
              <a:lumMod val="75000"/>
              <a:alpha val="96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sym typeface="Helvetica Neue Medium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FC3F972-F338-C04D-A825-E0284B7804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4CC002DA-7DFE-439A-ADB1-44CF21B510A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85D8A3E8-3F86-4DE3-8E8C-B2750292BDC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5629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357CCD-08AF-4BA3-BA95-F0E03780C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357CCD-08AF-4BA3-BA95-F0E03780C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938B0A1-B8AF-4B10-AF95-AE4EB44274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15247663-3408-494B-8CF6-2014E7A9C6F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0C0">
              <a:alpha val="78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A2FF599-422A-954D-BE07-1C1ABED4E4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24629D34-6D9A-4B45-928F-79DF08D8C79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D395ECC3-FDF1-41AC-B0A5-2583BC6FDC7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6007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4FC123-E890-4D4A-9F34-D3F6B97E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7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94FC123-E890-4D4A-9F34-D3F6B97E0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8B068BF-AD8D-492E-9141-371493DD52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0CFAD66E-1023-D447-9C21-4738352A99C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EABAA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CBCB5E8-04E4-6E49-86F3-BB792114AC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A882EFEF-76F1-43B8-A94A-180C0445EB0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4CC631A0-5C1C-405C-9E8C-D0F922F9570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57108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F304CF-9F36-4E93-928A-D9B95D2759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1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F304CF-9F36-4E93-928A-D9B95D2759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9F8F985-C383-47BE-9BA9-022105651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F1622073-CF4E-493F-913C-EEB3EA92A2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0AD47">
              <a:alpha val="89000"/>
            </a:srgbClr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sym typeface="Helvetica Neue Medium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50E92A1-50A8-BB4A-8B57-1B97107FC9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151712F9-4A81-4818-A78F-4E3A22C7BC1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8EF249DA-C224-46EA-9198-8573B179AA8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424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05309E-F476-47F3-A05A-E20A56837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5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05309E-F476-47F3-A05A-E20A56837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4A575CE-E476-49DB-A515-6F566B0488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85848E81-68CE-BD47-B16C-70DDB022EAD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517A084-2089-A847-850E-08177F67F4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reversed.png" descr="reversed.png">
            <a:extLst>
              <a:ext uri="{FF2B5EF4-FFF2-40B4-BE49-F238E27FC236}">
                <a16:creationId xmlns:a16="http://schemas.microsoft.com/office/drawing/2014/main" id="{FB87D44B-EDEF-4EC6-AB56-F45E79B5C1E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8CD2C346-9A01-44DA-808F-B5D6E32E4AC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65570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DC484C6B-D637-4212-9E66-E106FB428E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DC484C6B-D637-4212-9E66-E106FB428E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3FDDC6-1B3C-40B1-9FAC-8DE6CD770C0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717306" y="4554941"/>
            <a:ext cx="2757389" cy="545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6280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83073-90FF-4C39-815D-71D35C8A67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25D2F6-66D7-40AD-8D39-59A3832BB7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1FFC64-E485-4C6F-B9DF-EFC00977EF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F496D1-4B72-40D1-A554-7ED6611D2851}" type="datetimeFigureOut">
              <a:rPr lang="en-US" smtClean="0"/>
              <a:t>8/2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C10AEB-7BE0-40F9-B7AD-BE7DD3A8A1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0C7C5-C121-4C5B-9220-DA1A8BD0C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530E-946D-4793-9FBE-C46D2C0B4F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71923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B6F835-1F50-4F20-93BA-29E9F1D9B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13A6FE-5592-4F40-8AB9-23AB1EB640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C9A368-2DBE-476B-BD45-C50F8A4F5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F496D1-4B72-40D1-A554-7ED6611D2851}" type="datetimeFigureOut">
              <a:rPr lang="en-US" smtClean="0"/>
              <a:t>8/2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848BCB-2A96-4B75-8BBF-4B213C3686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19BD34-6EBE-42AC-B07B-090348AD53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530E-946D-4793-9FBE-C46D2C0B4F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613417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A91A6-1462-428E-A079-E85B6DD80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72CC9A-8BC7-426B-A5FD-896FCEC3E1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1BD703-721D-40BD-A3D5-5551985740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F496D1-4B72-40D1-A554-7ED6611D2851}" type="datetimeFigureOut">
              <a:rPr lang="en-US" smtClean="0"/>
              <a:t>8/2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B66EAA-253E-4282-A3E8-6E77F65BB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6EE65F-00EF-4A4A-AC68-948B53CEE8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530E-946D-4793-9FBE-C46D2C0B4F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2846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B21C12-67F4-4D19-80FB-4A7EF9A35D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2F9FE6-5899-4299-A62B-E360F35645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AACEAF4-C1A6-44E5-979E-D90DD38869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01913C-E2F6-4D75-AE58-00BAF4750C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F496D1-4B72-40D1-A554-7ED6611D2851}" type="datetimeFigureOut">
              <a:rPr lang="en-US" smtClean="0"/>
              <a:t>8/21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F7384F6-CFCE-4597-A4CF-B9F5F587DC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A29C8A-EC66-4DFD-B688-CC59F7B5E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530E-946D-4793-9FBE-C46D2C0B4F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9029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362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97986B-6C2E-4054-8EC5-02313F5AD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35E9D0-096D-4957-BAB8-D2AF25EFA2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389873-0872-49ED-AF65-E8D3A5FE2B3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0DCF9E4-9C25-4A83-B0B6-82800D16896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500E14B-AB9D-4DCF-80B7-85A7A4B32AE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7B3D2BB-2DCB-4C5B-8EEE-0027C385AD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F496D1-4B72-40D1-A554-7ED6611D2851}" type="datetimeFigureOut">
              <a:rPr lang="en-US" smtClean="0"/>
              <a:t>8/21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BC34A4-9027-4BE9-8868-20C2831265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61CA659-8CD7-4446-90A6-D087CEF257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530E-946D-4793-9FBE-C46D2C0B4F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69973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5DF404-B707-4828-BD37-52418B43A9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750F869-24A3-4B73-A991-202516455B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F496D1-4B72-40D1-A554-7ED6611D2851}" type="datetimeFigureOut">
              <a:rPr lang="en-US" smtClean="0"/>
              <a:t>8/21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CAAF59-C64C-4C20-970C-56FE097EAD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440559-1B02-4A20-A46C-02EE71D10F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530E-946D-4793-9FBE-C46D2C0B4F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38125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34ABB7-563F-4D8A-A7DB-B5EC70C8A5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F496D1-4B72-40D1-A554-7ED6611D2851}" type="datetimeFigureOut">
              <a:rPr lang="en-US" smtClean="0"/>
              <a:t>8/21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4527F7-F2F3-47D3-8DEE-E18BAFADD1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B82057-5BB2-4FC3-894F-F8F457928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530E-946D-4793-9FBE-C46D2C0B4F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44381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F4C170-BB02-404F-9385-EDE0B57909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6C300A-A229-4A69-9110-611F977BC8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3F558A-EDE0-4D44-9362-F1C34A0EE8B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976962-118E-4854-9C06-9C4C83807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F496D1-4B72-40D1-A554-7ED6611D2851}" type="datetimeFigureOut">
              <a:rPr lang="en-US" smtClean="0"/>
              <a:t>8/21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0BF365-51A2-4AC8-BC25-C92726438E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30DD9A-2B39-4C5E-B6EB-007DD5D95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530E-946D-4793-9FBE-C46D2C0B4F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79912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AD1708-2563-4A86-872E-F2BFA3424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34C1B1-7704-4882-AEDB-1F9EC0EA62B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C75C47-CED6-4182-81E5-F6CA390B2A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A6FBD1-969C-4E3C-AFC5-938A94C6EC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F496D1-4B72-40D1-A554-7ED6611D2851}" type="datetimeFigureOut">
              <a:rPr lang="en-US" smtClean="0"/>
              <a:t>8/21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6D86E0-21DC-42C5-90F7-55D72F2C2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D99E2B-4A11-49E7-B53A-AB8FCE6B87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530E-946D-4793-9FBE-C46D2C0B4F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39487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05B930-39E9-42A0-9161-87217AD0C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BD4F0A0-4A25-459E-9D50-A862219C43E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715966-3F3A-4E4A-9D20-D36AC978DB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F496D1-4B72-40D1-A554-7ED6611D2851}" type="datetimeFigureOut">
              <a:rPr lang="en-US" smtClean="0"/>
              <a:t>8/2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DD0A61-1A78-451D-8C54-3B818D2974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0B7617-39B6-4930-A409-2D04BA864A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530E-946D-4793-9FBE-C46D2C0B4F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0852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42FCC2C-AFFE-4A7B-97E7-F17D8176D2D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E2A11D1-4AF6-4A4F-898C-E100455E41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170B54-2CCD-4370-9207-5309390D6A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F496D1-4B72-40D1-A554-7ED6611D2851}" type="datetimeFigureOut">
              <a:rPr lang="en-US" smtClean="0"/>
              <a:t>8/2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62F32D-62AC-41BE-A3E5-92A00667C5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CCC493-608E-417E-9466-FF119DD89B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1530E-946D-4793-9FBE-C46D2C0B4F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1726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05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81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5593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850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.jpe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8.xml"/><Relationship Id="rId39" Type="http://schemas.openxmlformats.org/officeDocument/2006/relationships/tags" Target="../tags/tag21.xml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42" Type="http://schemas.openxmlformats.org/officeDocument/2006/relationships/tags" Target="../tags/tag24.xml"/><Relationship Id="rId47" Type="http://schemas.openxmlformats.org/officeDocument/2006/relationships/tags" Target="../tags/tag29.xml"/><Relationship Id="rId50" Type="http://schemas.openxmlformats.org/officeDocument/2006/relationships/tags" Target="../tags/tag3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9" Type="http://schemas.openxmlformats.org/officeDocument/2006/relationships/tags" Target="../tags/tag11.xml"/><Relationship Id="rId11" Type="http://schemas.openxmlformats.org/officeDocument/2006/relationships/slideLayout" Target="../slideLayouts/slideLayout30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tags" Target="../tags/tag22.xml"/><Relationship Id="rId45" Type="http://schemas.openxmlformats.org/officeDocument/2006/relationships/tags" Target="../tags/tag27.xml"/><Relationship Id="rId53" Type="http://schemas.openxmlformats.org/officeDocument/2006/relationships/image" Target="../media/image3.emf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4" Type="http://schemas.openxmlformats.org/officeDocument/2006/relationships/tags" Target="../tags/tag26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43" Type="http://schemas.openxmlformats.org/officeDocument/2006/relationships/tags" Target="../tags/tag25.xml"/><Relationship Id="rId48" Type="http://schemas.openxmlformats.org/officeDocument/2006/relationships/tags" Target="../tags/tag30.xml"/><Relationship Id="rId8" Type="http://schemas.openxmlformats.org/officeDocument/2006/relationships/slideLayout" Target="../slideLayouts/slideLayout27.xml"/><Relationship Id="rId51" Type="http://schemas.openxmlformats.org/officeDocument/2006/relationships/tags" Target="../tags/tag33.xml"/><Relationship Id="rId3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31.xml"/><Relationship Id="rId17" Type="http://schemas.openxmlformats.org/officeDocument/2006/relationships/theme" Target="../theme/theme4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Relationship Id="rId46" Type="http://schemas.openxmlformats.org/officeDocument/2006/relationships/tags" Target="../tags/tag28.xml"/><Relationship Id="rId20" Type="http://schemas.openxmlformats.org/officeDocument/2006/relationships/tags" Target="../tags/tag2.xml"/><Relationship Id="rId41" Type="http://schemas.openxmlformats.org/officeDocument/2006/relationships/tags" Target="../tags/tag23.xml"/><Relationship Id="rId54" Type="http://schemas.openxmlformats.org/officeDocument/2006/relationships/image" Target="../media/image4.png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4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49" Type="http://schemas.openxmlformats.org/officeDocument/2006/relationships/tags" Target="../tags/tag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283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80" r:id="rId7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6019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203200" y="6424382"/>
            <a:ext cx="76200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50"/>
              </a:spcAft>
            </a:pPr>
            <a:r>
              <a:rPr lang="en-US" sz="11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acred Encounters   Perfect Care   Healthiest Communiti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607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82" r:id="rId2"/>
    <p:sldLayoutId id="2147483727" r:id="rId3"/>
    <p:sldLayoutId id="2147483728" r:id="rId4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463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713" r:id="rId8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" name="think-cell Slide" r:id="rId52" imgW="270" imgH="270" progId="TCLayout.ActiveDocument.1">
                  <p:embed/>
                </p:oleObj>
              </mc:Choice>
              <mc:Fallback>
                <p:oleObj name="think-cell Slide" r:id="rId5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0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554736" y="246620"/>
            <a:ext cx="11082528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  <p:sp>
        <p:nvSpPr>
          <p:cNvPr id="3" name="Rectangle 286"/>
          <p:cNvSpPr>
            <a:spLocks noGrp="1"/>
          </p:cNvSpPr>
          <p:nvPr>
            <p:ph type="body" idx="1"/>
          </p:nvPr>
        </p:nvSpPr>
        <p:spPr bwMode="gray">
          <a:xfrm>
            <a:off x="2371623" y="2708460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0873676" y="304985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565701" y="304985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 userDrawn="1"/>
        </p:nvGrpSpPr>
        <p:grpSpPr bwMode="auto">
          <a:xfrm>
            <a:off x="10912258" y="304985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4. Footnote" hidden="1">
            <a:extLst>
              <a:ext uri="{FF2B5EF4-FFF2-40B4-BE49-F238E27FC236}">
                <a16:creationId xmlns:a16="http://schemas.microsoft.com/office/drawing/2014/main" id="{412901F3-09BA-4769-A43D-1B04A1317EB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54737" y="6387440"/>
            <a:ext cx="88044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6200" indent="-76200">
              <a:defRPr lang="x-none"/>
            </a:pPr>
            <a:r>
              <a:rPr lang="en-US" sz="1000" baseline="0">
                <a:solidFill>
                  <a:schemeClr val="accent6"/>
                </a:solidFill>
                <a:latin typeface="+mn-lt"/>
              </a:rPr>
              <a:t>1 Footnote</a:t>
            </a:r>
          </a:p>
        </p:txBody>
      </p:sp>
      <p:sp>
        <p:nvSpPr>
          <p:cNvPr id="64" name="5. Source" hidden="1">
            <a:extLst>
              <a:ext uri="{FF2B5EF4-FFF2-40B4-BE49-F238E27FC236}">
                <a16:creationId xmlns:a16="http://schemas.microsoft.com/office/drawing/2014/main" id="{64B0B00E-7E47-4DA3-961A-6552768CD00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4737" y="6571610"/>
            <a:ext cx="88044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2588" indent="-382588" defTabSz="1218026">
              <a:tabLst/>
            </a:pPr>
            <a:r>
              <a:rPr lang="en-US" sz="1000" baseline="0" noProof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65" name="1. On-page tracker" hidden="1">
            <a:extLst>
              <a:ext uri="{FF2B5EF4-FFF2-40B4-BE49-F238E27FC236}">
                <a16:creationId xmlns:a16="http://schemas.microsoft.com/office/drawing/2014/main" id="{5A0E5571-BAD2-4B4E-9525-DFC56DB7C148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4736" y="77304"/>
            <a:ext cx="47288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 cap="all" baseline="0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6" name="3. Unit of measure" hidden="1">
            <a:extLst>
              <a:ext uri="{FF2B5EF4-FFF2-40B4-BE49-F238E27FC236}">
                <a16:creationId xmlns:a16="http://schemas.microsoft.com/office/drawing/2014/main" id="{9C9BE332-9071-44F3-B6CA-36B4B475E45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54736" y="643467"/>
            <a:ext cx="1108252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800" baseline="0">
                <a:solidFill>
                  <a:schemeClr val="tx1"/>
                </a:solidFill>
              </a:rPr>
              <a:t>Unit of measure </a:t>
            </a:r>
          </a:p>
        </p:txBody>
      </p:sp>
      <p:pic>
        <p:nvPicPr>
          <p:cNvPr id="67" name="reversed.png">
            <a:extLst>
              <a:ext uri="{FF2B5EF4-FFF2-40B4-BE49-F238E27FC236}">
                <a16:creationId xmlns:a16="http://schemas.microsoft.com/office/drawing/2014/main" id="{DED27113-6B0F-4ADD-838F-D59C13F5C9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4">
            <a:alphaModFix amt="45000"/>
          </a:blip>
          <a:srcRect l="9229" t="16982" r="12169" b="29409"/>
          <a:stretch/>
        </p:blipFill>
        <p:spPr>
          <a:xfrm>
            <a:off x="9359152" y="6336562"/>
            <a:ext cx="1994647" cy="484786"/>
          </a:xfrm>
          <a:prstGeom prst="rect">
            <a:avLst/>
          </a:prstGeom>
        </p:spPr>
      </p:pic>
      <p:sp>
        <p:nvSpPr>
          <p:cNvPr id="68" name="Slide Number">
            <a:extLst>
              <a:ext uri="{FF2B5EF4-FFF2-40B4-BE49-F238E27FC236}">
                <a16:creationId xmlns:a16="http://schemas.microsoft.com/office/drawing/2014/main" id="{35D95BCD-4F50-49FD-A7D9-C76FCA285DA4}"/>
              </a:ext>
            </a:extLst>
          </p:cNvPr>
          <p:cNvSpPr>
            <a:spLocks noChangeArrowheads="1"/>
          </p:cNvSpPr>
          <p:nvPr userDrawn="1">
            <p:custDataLst>
              <p:tags r:id="rId21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6" name="QuaterMoon" hidden="1">
            <a:extLst>
              <a:ext uri="{FF2B5EF4-FFF2-40B4-BE49-F238E27FC236}">
                <a16:creationId xmlns:a16="http://schemas.microsoft.com/office/drawing/2014/main" id="{039B7385-B71F-42AB-AB4B-F19A016714F6}"/>
              </a:ext>
            </a:extLst>
          </p:cNvPr>
          <p:cNvGrpSpPr>
            <a:grpSpLocks noChangeAspect="1"/>
          </p:cNvGrpSpPr>
          <p:nvPr userDrawn="1">
            <p:custDataLst>
              <p:tags r:id="rId22"/>
            </p:custDataLst>
          </p:nvPr>
        </p:nvGrpSpPr>
        <p:grpSpPr>
          <a:xfrm>
            <a:off x="11383264" y="3000796"/>
            <a:ext cx="254000" cy="254000"/>
            <a:chOff x="762000" y="1270000"/>
            <a:chExt cx="254000" cy="254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4D014335-BCFC-4D47-9214-B3A524CB5B0E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8" name="Arc 57">
              <a:extLst>
                <a:ext uri="{FF2B5EF4-FFF2-40B4-BE49-F238E27FC236}">
                  <a16:creationId xmlns:a16="http://schemas.microsoft.com/office/drawing/2014/main" id="{D18DBC09-3DA7-45A6-A40C-69D760253366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0" name="HalfMoon" hidden="1">
            <a:extLst>
              <a:ext uri="{FF2B5EF4-FFF2-40B4-BE49-F238E27FC236}">
                <a16:creationId xmlns:a16="http://schemas.microsoft.com/office/drawing/2014/main" id="{CA65823D-5AF5-4163-8E94-0FB7A570EDC9}"/>
              </a:ext>
            </a:extLst>
          </p:cNvPr>
          <p:cNvGrpSpPr>
            <a:grpSpLocks noChangeAspect="1"/>
          </p:cNvGrpSpPr>
          <p:nvPr userDrawn="1">
            <p:custDataLst>
              <p:tags r:id="rId23"/>
            </p:custDataLst>
          </p:nvPr>
        </p:nvGrpSpPr>
        <p:grpSpPr>
          <a:xfrm>
            <a:off x="11383264" y="3508796"/>
            <a:ext cx="254000" cy="254000"/>
            <a:chOff x="762000" y="1270000"/>
            <a:chExt cx="254000" cy="254000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4EE1C7D3-3C33-4A8B-AE96-77B07CC26845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2" name="Arc 61">
              <a:extLst>
                <a:ext uri="{FF2B5EF4-FFF2-40B4-BE49-F238E27FC236}">
                  <a16:creationId xmlns:a16="http://schemas.microsoft.com/office/drawing/2014/main" id="{89BF9D94-3183-4403-9083-DEDD4047C4B6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9" name="3QuaterMoon" hidden="1">
            <a:extLst>
              <a:ext uri="{FF2B5EF4-FFF2-40B4-BE49-F238E27FC236}">
                <a16:creationId xmlns:a16="http://schemas.microsoft.com/office/drawing/2014/main" id="{1A9A5D6E-7B4E-4E49-9100-497BB32E3321}"/>
              </a:ext>
            </a:extLst>
          </p:cNvPr>
          <p:cNvGrpSpPr>
            <a:grpSpLocks noChangeAspect="1"/>
          </p:cNvGrpSpPr>
          <p:nvPr userDrawn="1">
            <p:custDataLst>
              <p:tags r:id="rId24"/>
            </p:custDataLst>
          </p:nvPr>
        </p:nvGrpSpPr>
        <p:grpSpPr>
          <a:xfrm>
            <a:off x="11383264" y="4016796"/>
            <a:ext cx="254000" cy="254000"/>
            <a:chOff x="762000" y="1270000"/>
            <a:chExt cx="254000" cy="254000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9A19D8E-1F5F-4BA2-83D5-41BB4C225F51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1" name="Arc 70">
              <a:extLst>
                <a:ext uri="{FF2B5EF4-FFF2-40B4-BE49-F238E27FC236}">
                  <a16:creationId xmlns:a16="http://schemas.microsoft.com/office/drawing/2014/main" id="{87A85809-98B8-4D3D-9307-D4D19835B7B9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2" name="FullMoon" hidden="1">
            <a:extLst>
              <a:ext uri="{FF2B5EF4-FFF2-40B4-BE49-F238E27FC236}">
                <a16:creationId xmlns:a16="http://schemas.microsoft.com/office/drawing/2014/main" id="{103A62B5-C3FA-4342-A3CD-09FFF67FAFC2}"/>
              </a:ext>
            </a:extLst>
          </p:cNvPr>
          <p:cNvGrpSpPr>
            <a:grpSpLocks noChangeAspect="1"/>
          </p:cNvGrpSpPr>
          <p:nvPr userDrawn="1">
            <p:custDataLst>
              <p:tags r:id="rId25"/>
            </p:custDataLst>
          </p:nvPr>
        </p:nvGrpSpPr>
        <p:grpSpPr>
          <a:xfrm>
            <a:off x="11383264" y="4524796"/>
            <a:ext cx="254000" cy="254000"/>
            <a:chOff x="762000" y="1270000"/>
            <a:chExt cx="254000" cy="254000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BB695119-5322-4756-8170-A5EBE25271E6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4" name="Arc 73">
              <a:extLst>
                <a:ext uri="{FF2B5EF4-FFF2-40B4-BE49-F238E27FC236}">
                  <a16:creationId xmlns:a16="http://schemas.microsoft.com/office/drawing/2014/main" id="{7BE1C112-65B6-4737-9E8A-9CBC8A76957C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5" name="LegendMoons" hidden="1">
            <a:extLst>
              <a:ext uri="{FF2B5EF4-FFF2-40B4-BE49-F238E27FC236}">
                <a16:creationId xmlns:a16="http://schemas.microsoft.com/office/drawing/2014/main" id="{9B786190-CF35-42B2-A07D-31AC402213FF}"/>
              </a:ext>
            </a:extLst>
          </p:cNvPr>
          <p:cNvGrpSpPr/>
          <p:nvPr userDrawn="1"/>
        </p:nvGrpSpPr>
        <p:grpSpPr bwMode="auto">
          <a:xfrm>
            <a:off x="10806834" y="304985"/>
            <a:ext cx="830430" cy="1306516"/>
            <a:chOff x="6655594" y="273840"/>
            <a:chExt cx="830430" cy="1306516"/>
          </a:xfrm>
        </p:grpSpPr>
        <p:grpSp>
          <p:nvGrpSpPr>
            <p:cNvPr id="76" name="MoonLegend1">
              <a:extLst>
                <a:ext uri="{FF2B5EF4-FFF2-40B4-BE49-F238E27FC236}">
                  <a16:creationId xmlns:a16="http://schemas.microsoft.com/office/drawing/2014/main" id="{4D3E84B6-B5C9-401B-88CF-8C129A89F66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94" name="Oval 38">
                <a:extLst>
                  <a:ext uri="{FF2B5EF4-FFF2-40B4-BE49-F238E27FC236}">
                    <a16:creationId xmlns:a16="http://schemas.microsoft.com/office/drawing/2014/main" id="{8B94ACBA-48D2-442B-BF21-EFF82C830C1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5" name="Arc 39">
                <a:extLst>
                  <a:ext uri="{FF2B5EF4-FFF2-40B4-BE49-F238E27FC236}">
                    <a16:creationId xmlns:a16="http://schemas.microsoft.com/office/drawing/2014/main" id="{344E8929-4EF7-4491-9D3C-133E0B5DF473}"/>
                  </a:ext>
                </a:extLst>
              </p:cNvPr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2">
              <a:extLst>
                <a:ext uri="{FF2B5EF4-FFF2-40B4-BE49-F238E27FC236}">
                  <a16:creationId xmlns:a16="http://schemas.microsoft.com/office/drawing/2014/main" id="{D990CE8F-6F72-4E05-A9F8-B3D4065D7D2E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92" name="Oval 41">
                <a:extLst>
                  <a:ext uri="{FF2B5EF4-FFF2-40B4-BE49-F238E27FC236}">
                    <a16:creationId xmlns:a16="http://schemas.microsoft.com/office/drawing/2014/main" id="{58D66E87-863A-4778-A03C-4376A886C5E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3" name="Arc 42">
                <a:extLst>
                  <a:ext uri="{FF2B5EF4-FFF2-40B4-BE49-F238E27FC236}">
                    <a16:creationId xmlns:a16="http://schemas.microsoft.com/office/drawing/2014/main" id="{7F025F34-B452-4620-B4D5-0F0B2CE1B039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8" name="MoonLegend4">
              <a:extLst>
                <a:ext uri="{FF2B5EF4-FFF2-40B4-BE49-F238E27FC236}">
                  <a16:creationId xmlns:a16="http://schemas.microsoft.com/office/drawing/2014/main" id="{48EC6917-3CB5-449F-9A66-A02F2532A123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0" name="Oval 47">
                <a:extLst>
                  <a:ext uri="{FF2B5EF4-FFF2-40B4-BE49-F238E27FC236}">
                    <a16:creationId xmlns:a16="http://schemas.microsoft.com/office/drawing/2014/main" id="{6D711816-49E1-4F7C-B56E-516040317C0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1" name="Arc 48">
                <a:extLst>
                  <a:ext uri="{FF2B5EF4-FFF2-40B4-BE49-F238E27FC236}">
                    <a16:creationId xmlns:a16="http://schemas.microsoft.com/office/drawing/2014/main" id="{4905623C-C16F-49CE-96BB-499A88602AC4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9" name="MoonLegend5">
              <a:extLst>
                <a:ext uri="{FF2B5EF4-FFF2-40B4-BE49-F238E27FC236}">
                  <a16:creationId xmlns:a16="http://schemas.microsoft.com/office/drawing/2014/main" id="{9CA32A60-9A5C-472D-92F9-6F4A9385C365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88" name="Oval 50">
                <a:extLst>
                  <a:ext uri="{FF2B5EF4-FFF2-40B4-BE49-F238E27FC236}">
                    <a16:creationId xmlns:a16="http://schemas.microsoft.com/office/drawing/2014/main" id="{1A718B91-9D77-4027-8227-B24EF027FB1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9" name="Oval 51">
                <a:extLst>
                  <a:ext uri="{FF2B5EF4-FFF2-40B4-BE49-F238E27FC236}">
                    <a16:creationId xmlns:a16="http://schemas.microsoft.com/office/drawing/2014/main" id="{E4DCA13F-8F91-4612-9CBA-612C35650BA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80" name="Legend1">
              <a:extLst>
                <a:ext uri="{FF2B5EF4-FFF2-40B4-BE49-F238E27FC236}">
                  <a16:creationId xmlns:a16="http://schemas.microsoft.com/office/drawing/2014/main" id="{AFEBEC0F-16B1-4867-B024-A867A2EEA4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1" name="Legend2">
              <a:extLst>
                <a:ext uri="{FF2B5EF4-FFF2-40B4-BE49-F238E27FC236}">
                  <a16:creationId xmlns:a16="http://schemas.microsoft.com/office/drawing/2014/main" id="{953B45E7-2D68-46D2-A0B7-E18AD61B19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2" name="Legend3">
              <a:extLst>
                <a:ext uri="{FF2B5EF4-FFF2-40B4-BE49-F238E27FC236}">
                  <a16:creationId xmlns:a16="http://schemas.microsoft.com/office/drawing/2014/main" id="{D26129C7-D82E-4EF7-8CDE-6C2E280132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3" name="Legend4">
              <a:extLst>
                <a:ext uri="{FF2B5EF4-FFF2-40B4-BE49-F238E27FC236}">
                  <a16:creationId xmlns:a16="http://schemas.microsoft.com/office/drawing/2014/main" id="{9B5E0F20-4559-4BC8-80CE-48EABDE15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4" name="Legend5">
              <a:extLst>
                <a:ext uri="{FF2B5EF4-FFF2-40B4-BE49-F238E27FC236}">
                  <a16:creationId xmlns:a16="http://schemas.microsoft.com/office/drawing/2014/main" id="{832DAD7D-D044-4738-9ABE-B25A6636B8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85" name="MoonLegend3">
              <a:extLst>
                <a:ext uri="{FF2B5EF4-FFF2-40B4-BE49-F238E27FC236}">
                  <a16:creationId xmlns:a16="http://schemas.microsoft.com/office/drawing/2014/main" id="{3E912D22-E297-4CE6-BE79-A7985C0FBBF6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86" name="Oval 47">
                <a:extLst>
                  <a:ext uri="{FF2B5EF4-FFF2-40B4-BE49-F238E27FC236}">
                    <a16:creationId xmlns:a16="http://schemas.microsoft.com/office/drawing/2014/main" id="{FD11E69A-6483-4037-B949-4D1D1A0FEEC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8">
                <a:extLst>
                  <a:ext uri="{FF2B5EF4-FFF2-40B4-BE49-F238E27FC236}">
                    <a16:creationId xmlns:a16="http://schemas.microsoft.com/office/drawing/2014/main" id="{6576C839-CB24-4DB8-80F5-1F6B0A147A87}"/>
                  </a:ext>
                </a:extLst>
              </p:cNvPr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96" name="EmptyMoon" hidden="1">
            <a:extLst>
              <a:ext uri="{FF2B5EF4-FFF2-40B4-BE49-F238E27FC236}">
                <a16:creationId xmlns:a16="http://schemas.microsoft.com/office/drawing/2014/main" id="{707E17A1-1848-470B-9AF2-044B3C05A375}"/>
              </a:ext>
            </a:extLst>
          </p:cNvPr>
          <p:cNvGrpSpPr>
            <a:grpSpLocks noChangeAspect="1"/>
          </p:cNvGrpSpPr>
          <p:nvPr userDrawn="1">
            <p:custDataLst>
              <p:tags r:id="rId26"/>
            </p:custDataLst>
          </p:nvPr>
        </p:nvGrpSpPr>
        <p:grpSpPr>
          <a:xfrm>
            <a:off x="11383264" y="2492796"/>
            <a:ext cx="254000" cy="254000"/>
            <a:chOff x="762000" y="1270000"/>
            <a:chExt cx="254000" cy="254000"/>
          </a:xfrm>
        </p:grpSpPr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C9D3279C-1BCF-4752-9B18-F8A7510D2E5F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98" name="Arc 97">
              <a:extLst>
                <a:ext uri="{FF2B5EF4-FFF2-40B4-BE49-F238E27FC236}">
                  <a16:creationId xmlns:a16="http://schemas.microsoft.com/office/drawing/2014/main" id="{F8D931EB-99EF-40D6-B5E8-797176C3DF0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6350" cap="sq" cmpd="sng" algn="ctr">
              <a:solidFill>
                <a:schemeClr val="accent6"/>
              </a:solidFill>
              <a:prstDash val="solid"/>
              <a:miter lim="800000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03509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</p:sldLayoutIdLst>
  <p:hf sldNum="0"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500" b="1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x-none" sz="1600" baseline="0">
          <a:solidFill>
            <a:schemeClr val="tx1"/>
          </a:solidFill>
          <a:latin typeface="+mn-lt"/>
        </a:defRPr>
      </a:lvl2pPr>
      <a:lvl3pPr marL="457200" indent="-261938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4363" indent="-155575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30175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5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BCA82D8-B0DF-4C67-9B86-54DCCE88E5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EBAA25-610A-4C87-9449-BC7CB5B970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A1F80C-2539-4F98-8BBB-557910CCDB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F496D1-4B72-40D1-A554-7ED6611D2851}" type="datetimeFigureOut">
              <a:rPr lang="en-US" smtClean="0"/>
              <a:t>8/2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84D2D5-EB41-469B-B57A-A09E621A65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A4C897-1273-461E-A0EE-D3FAB1A598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D1530E-946D-4793-9FBE-C46D2C0B4F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9745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9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9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9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8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8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8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19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9D6B054-721D-6A4D-A367-FC5AA75F8F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dirty="0"/>
              <a:t>Covenant Health</a:t>
            </a:r>
            <a:br>
              <a:rPr lang="en-US" dirty="0"/>
            </a:br>
            <a:r>
              <a:rPr lang="en-US" dirty="0"/>
              <a:t>Regional Update for Physician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560B31AF-7F72-534C-AF64-C57CCAEB88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4035972"/>
            <a:ext cx="8534400" cy="1069428"/>
          </a:xfrm>
        </p:spPr>
        <p:txBody>
          <a:bodyPr/>
          <a:lstStyle/>
          <a:p>
            <a:r>
              <a:rPr lang="en-US" dirty="0"/>
              <a:t>August 14, 2020</a:t>
            </a:r>
          </a:p>
        </p:txBody>
      </p:sp>
    </p:spTree>
    <p:extLst>
      <p:ext uri="{BB962C8B-B14F-4D97-AF65-F5344CB8AC3E}">
        <p14:creationId xmlns:p14="http://schemas.microsoft.com/office/powerpoint/2010/main" val="23910442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3960" y="69783"/>
            <a:ext cx="9784080" cy="150876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UI/Confirmed cases-hospitalized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547234" y="20790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1382" y="1295557"/>
            <a:ext cx="10589235" cy="463810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746849" y="6078040"/>
            <a:ext cx="4892750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800" dirty="0"/>
              <a:t>MICU 8 beds opened for COVID </a:t>
            </a:r>
          </a:p>
        </p:txBody>
      </p:sp>
    </p:spTree>
    <p:extLst>
      <p:ext uri="{BB962C8B-B14F-4D97-AF65-F5344CB8AC3E}">
        <p14:creationId xmlns:p14="http://schemas.microsoft.com/office/powerpoint/2010/main" val="37369299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ge Plan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1185161"/>
              </p:ext>
            </p:extLst>
          </p:nvPr>
        </p:nvGraphicFramePr>
        <p:xfrm>
          <a:off x="2032000" y="1460342"/>
          <a:ext cx="8128000" cy="44246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 gridSpan="4"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Covenant</a:t>
                      </a:r>
                      <a:r>
                        <a:rPr lang="en-US" sz="2400" baseline="0" dirty="0"/>
                        <a:t> Medical Center</a:t>
                      </a:r>
                      <a:endParaRPr lang="en-US" sz="2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ICU</a:t>
                      </a: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ed </a:t>
                      </a:r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Surg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HC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-M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Pal</a:t>
                      </a:r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d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5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Pal</a:t>
                      </a:r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d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6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- SICU 4 (eas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Pal</a:t>
                      </a:r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d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– S 9 (eas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35B4F667-D8B1-A84B-B087-E08FF3A0A23E}"/>
              </a:ext>
            </a:extLst>
          </p:cNvPr>
          <p:cNvGrpSpPr/>
          <p:nvPr/>
        </p:nvGrpSpPr>
        <p:grpSpPr>
          <a:xfrm>
            <a:off x="1148992" y="3593098"/>
            <a:ext cx="861444" cy="429583"/>
            <a:chOff x="1650830" y="2945718"/>
            <a:chExt cx="861444" cy="429583"/>
          </a:xfrm>
        </p:grpSpPr>
        <p:sp>
          <p:nvSpPr>
            <p:cNvPr id="7" name="Right Arrow 6">
              <a:extLst>
                <a:ext uri="{FF2B5EF4-FFF2-40B4-BE49-F238E27FC236}">
                  <a16:creationId xmlns:a16="http://schemas.microsoft.com/office/drawing/2014/main" id="{BE8FA671-9B01-9D46-8AF2-721E81B6565C}"/>
                </a:ext>
              </a:extLst>
            </p:cNvPr>
            <p:cNvSpPr/>
            <p:nvPr/>
          </p:nvSpPr>
          <p:spPr>
            <a:xfrm>
              <a:off x="1650830" y="2945718"/>
              <a:ext cx="861444" cy="429583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DCA1B8C-5BD1-EB4A-A956-165EC0473B51}"/>
                </a:ext>
              </a:extLst>
            </p:cNvPr>
            <p:cNvSpPr txBox="1"/>
            <p:nvPr/>
          </p:nvSpPr>
          <p:spPr>
            <a:xfrm>
              <a:off x="1692881" y="3045093"/>
              <a:ext cx="63511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Currently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2AF7951-22D2-6740-B4ED-504BBDC61F43}"/>
              </a:ext>
            </a:extLst>
          </p:cNvPr>
          <p:cNvGrpSpPr/>
          <p:nvPr/>
        </p:nvGrpSpPr>
        <p:grpSpPr>
          <a:xfrm>
            <a:off x="1148992" y="3812430"/>
            <a:ext cx="861444" cy="429583"/>
            <a:chOff x="1657458" y="2111168"/>
            <a:chExt cx="861444" cy="429583"/>
          </a:xfrm>
        </p:grpSpPr>
        <p:sp>
          <p:nvSpPr>
            <p:cNvPr id="10" name="Right Arrow 9">
              <a:extLst>
                <a:ext uri="{FF2B5EF4-FFF2-40B4-BE49-F238E27FC236}">
                  <a16:creationId xmlns:a16="http://schemas.microsoft.com/office/drawing/2014/main" id="{96170749-65B9-9849-AF73-5829713B4A71}"/>
                </a:ext>
              </a:extLst>
            </p:cNvPr>
            <p:cNvSpPr/>
            <p:nvPr/>
          </p:nvSpPr>
          <p:spPr>
            <a:xfrm>
              <a:off x="1657458" y="2111168"/>
              <a:ext cx="861444" cy="429583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5D29F20-0484-3B4E-B2A8-B0518F0B8E8F}"/>
                </a:ext>
              </a:extLst>
            </p:cNvPr>
            <p:cNvSpPr txBox="1"/>
            <p:nvPr/>
          </p:nvSpPr>
          <p:spPr>
            <a:xfrm>
              <a:off x="1699509" y="2210543"/>
              <a:ext cx="67839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ast Wee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431646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AE627E-8C16-FE47-BEF2-46A71F906FE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tatistic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FBD5A8-559C-6647-B0DC-B4E1C1ED98A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/>
              <a:t>William Sommer</a:t>
            </a:r>
          </a:p>
          <a:p>
            <a:r>
              <a:rPr lang="en-US" dirty="0"/>
              <a:t>Clinical Data Analyst</a:t>
            </a:r>
          </a:p>
          <a:p>
            <a:r>
              <a:rPr lang="en-US" dirty="0"/>
              <a:t>Decision Support Services</a:t>
            </a:r>
          </a:p>
          <a:p>
            <a:r>
              <a:rPr lang="en-US" sz="2400" b="1" dirty="0"/>
              <a:t>Covenant Health</a:t>
            </a:r>
            <a:endParaRPr lang="en-US" sz="24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32902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B298C94-AE30-764B-ABC2-67B4676B02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7886" y="242250"/>
            <a:ext cx="10363200" cy="1470025"/>
          </a:xfrm>
        </p:spPr>
        <p:txBody>
          <a:bodyPr/>
          <a:lstStyle/>
          <a:p>
            <a:r>
              <a:rPr lang="en-US" sz="4000" dirty="0"/>
              <a:t>Providence System </a:t>
            </a:r>
            <a:r>
              <a:rPr lang="en-US" sz="4000" u="sng" dirty="0">
                <a:solidFill>
                  <a:schemeClr val="accent2"/>
                </a:solidFill>
              </a:rPr>
              <a:t>Hospitalized</a:t>
            </a:r>
            <a:r>
              <a:rPr lang="en-US" sz="4000" dirty="0"/>
              <a:t> COVID-19 Cas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D89D12-1871-4D7E-9A83-F7E626EDB8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3706" y="814215"/>
            <a:ext cx="6544588" cy="580153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76827D6-53AF-544D-B755-D39427DB3AC5}"/>
              </a:ext>
            </a:extLst>
          </p:cNvPr>
          <p:cNvSpPr/>
          <p:nvPr/>
        </p:nvSpPr>
        <p:spPr>
          <a:xfrm>
            <a:off x="2823706" y="3258589"/>
            <a:ext cx="6716684" cy="315883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45004AF-43F1-F648-96D4-DDDE29090E89}"/>
              </a:ext>
            </a:extLst>
          </p:cNvPr>
          <p:cNvSpPr txBox="1"/>
          <p:nvPr/>
        </p:nvSpPr>
        <p:spPr>
          <a:xfrm>
            <a:off x="9540390" y="3205140"/>
            <a:ext cx="2242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13% (Highest in PSJH)</a:t>
            </a:r>
          </a:p>
        </p:txBody>
      </p:sp>
    </p:spTree>
    <p:extLst>
      <p:ext uri="{BB962C8B-B14F-4D97-AF65-F5344CB8AC3E}">
        <p14:creationId xmlns:p14="http://schemas.microsoft.com/office/powerpoint/2010/main" val="12906698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F57ED-EA83-5E41-9C91-6F6DC641E6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9000" y="313501"/>
            <a:ext cx="10363200" cy="1470025"/>
          </a:xfrm>
        </p:spPr>
        <p:txBody>
          <a:bodyPr/>
          <a:lstStyle/>
          <a:p>
            <a:r>
              <a:rPr lang="en-US" dirty="0"/>
              <a:t>Providence Inpatient COVID-19 Volum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8EE4808-D5EB-401D-A7AA-40E0BF221D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3256" y="1595181"/>
            <a:ext cx="9945488" cy="3667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6026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90B32-2EBE-4645-8EF5-BBC1AA5FA4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393" y="218499"/>
            <a:ext cx="10363200" cy="1470025"/>
          </a:xfrm>
        </p:spPr>
        <p:txBody>
          <a:bodyPr/>
          <a:lstStyle/>
          <a:p>
            <a:r>
              <a:rPr lang="en-US" dirty="0"/>
              <a:t>Texas Inpatient COVID-19 Volu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6090366-73E9-4957-B190-B0E0BB2507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8019" y="1633287"/>
            <a:ext cx="9935962" cy="3591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6462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DC84B-AEF3-4723-802B-0934782DC4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90401"/>
            <a:ext cx="10363200" cy="1470025"/>
          </a:xfrm>
        </p:spPr>
        <p:txBody>
          <a:bodyPr/>
          <a:lstStyle/>
          <a:p>
            <a:r>
              <a:rPr lang="en-US" dirty="0"/>
              <a:t>New Covid-19 POSITIVES by Day Trend</a:t>
            </a:r>
            <a:br>
              <a:rPr lang="en-US" dirty="0"/>
            </a:b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0087BC8-9128-4F49-AEC3-C7251FC749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3004" y="1125413"/>
            <a:ext cx="8845993" cy="505854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FF7A09D-6397-418D-A735-9F7B520379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85363" y="1483611"/>
            <a:ext cx="1133633" cy="628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60882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DC84B-AEF3-4723-802B-0934782DC4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90401"/>
            <a:ext cx="10363200" cy="1470025"/>
          </a:xfrm>
        </p:spPr>
        <p:txBody>
          <a:bodyPr/>
          <a:lstStyle/>
          <a:p>
            <a:r>
              <a:rPr lang="en-US" dirty="0"/>
              <a:t> Covid-19 Daily Positive Rate</a:t>
            </a:r>
            <a:br>
              <a:rPr lang="en-US" dirty="0"/>
            </a:b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BC447C-7F9F-4D9C-BA62-D276DFEF06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2495" y="1125413"/>
            <a:ext cx="8527661" cy="5083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6561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DC84B-AEF3-4723-802B-0934782DC4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90401"/>
            <a:ext cx="10363200" cy="1470025"/>
          </a:xfrm>
        </p:spPr>
        <p:txBody>
          <a:bodyPr/>
          <a:lstStyle/>
          <a:p>
            <a:r>
              <a:rPr lang="en-US" dirty="0"/>
              <a:t> Covid-19 POSITIVES Age Distribution</a:t>
            </a:r>
            <a:br>
              <a:rPr lang="en-US" dirty="0"/>
            </a:b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24DDD6-73AA-449E-B171-93E38E400E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00470" y="488635"/>
            <a:ext cx="1076475" cy="137179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FD49453-AEA4-4D1C-BDAF-DE33B71F6D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2079" y="1125413"/>
            <a:ext cx="9243897" cy="5356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0987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90B32-2EBE-4645-8EF5-BBC1AA5FA4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19380"/>
            <a:ext cx="10363200" cy="1470025"/>
          </a:xfrm>
        </p:spPr>
        <p:txBody>
          <a:bodyPr/>
          <a:lstStyle/>
          <a:p>
            <a:r>
              <a:rPr lang="en-US" sz="4000" dirty="0"/>
              <a:t>TX/NM Region Weekly Procedures (YOY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841817-7CF2-4641-B182-58CDEB5F94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10650" y="1789405"/>
            <a:ext cx="1066949" cy="68589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B8493F6-D80D-4B46-8DF5-1731CEDA1F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8008" y="1049914"/>
            <a:ext cx="7495983" cy="532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1079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33F873-4306-024F-A0E3-9C8E69D3A4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5935" y="148632"/>
            <a:ext cx="3742660" cy="79766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sz="5400" dirty="0"/>
              <a:t>Reflec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A3D4B12-7524-1C4D-B42B-5724A24AD727}"/>
              </a:ext>
            </a:extLst>
          </p:cNvPr>
          <p:cNvSpPr txBox="1"/>
          <p:nvPr/>
        </p:nvSpPr>
        <p:spPr>
          <a:xfrm>
            <a:off x="3632662" y="2327564"/>
            <a:ext cx="5033750" cy="1107996"/>
          </a:xfrm>
          <a:prstGeom prst="rect">
            <a:avLst/>
          </a:prstGeom>
          <a:solidFill>
            <a:srgbClr val="339933"/>
          </a:solidFill>
        </p:spPr>
        <p:txBody>
          <a:bodyPr wrap="none" rtlCol="0">
            <a:spAutoFit/>
          </a:bodyPr>
          <a:lstStyle/>
          <a:p>
            <a:r>
              <a:rPr lang="en-US" sz="6600" dirty="0">
                <a:solidFill>
                  <a:schemeClr val="bg1"/>
                </a:solidFill>
              </a:rPr>
              <a:t>Tick, Tick, Tick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66FAD9B-2383-9241-A71F-AFB8A6EEF303}"/>
              </a:ext>
            </a:extLst>
          </p:cNvPr>
          <p:cNvSpPr txBox="1"/>
          <p:nvPr/>
        </p:nvSpPr>
        <p:spPr>
          <a:xfrm>
            <a:off x="8321040" y="4912822"/>
            <a:ext cx="314028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Brian Schroeder, MD MBA FACP</a:t>
            </a:r>
          </a:p>
          <a:p>
            <a:r>
              <a:rPr lang="en-US" dirty="0">
                <a:solidFill>
                  <a:schemeClr val="bg1"/>
                </a:solidFill>
              </a:rPr>
              <a:t>CMO Covenant Medical Center</a:t>
            </a:r>
          </a:p>
        </p:txBody>
      </p:sp>
    </p:spTree>
    <p:extLst>
      <p:ext uri="{BB962C8B-B14F-4D97-AF65-F5344CB8AC3E}">
        <p14:creationId xmlns:p14="http://schemas.microsoft.com/office/powerpoint/2010/main" val="28611083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0A776D-F015-974E-856B-23AB472D773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ovidence St. Joseph System</a:t>
            </a:r>
            <a:br>
              <a:rPr lang="en-US" dirty="0"/>
            </a:br>
            <a:r>
              <a:rPr lang="en-US" dirty="0"/>
              <a:t>Covid-19 Statu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21DA2FE-CB30-E143-A37D-13BFA3EB6FE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4263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D3B7F26-9C8F-45C3-8ED4-235DD96593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875" y="0"/>
            <a:ext cx="111442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0760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90C0EA2-A6D8-46A9-B8C6-A8BDA0E775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875" y="0"/>
            <a:ext cx="111442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1530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C8F9F-1F22-4649-8B5C-D470068D8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-19 vs Flu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902FA4C-4AA9-4A29-8822-9C319AC164C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184576" y="1941474"/>
          <a:ext cx="6518462" cy="198744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348552">
                  <a:extLst>
                    <a:ext uri="{9D8B030D-6E8A-4147-A177-3AD203B41FA5}">
                      <a16:colId xmlns:a16="http://schemas.microsoft.com/office/drawing/2014/main" val="3645010049"/>
                    </a:ext>
                  </a:extLst>
                </a:gridCol>
                <a:gridCol w="865525">
                  <a:extLst>
                    <a:ext uri="{9D8B030D-6E8A-4147-A177-3AD203B41FA5}">
                      <a16:colId xmlns:a16="http://schemas.microsoft.com/office/drawing/2014/main" val="957968288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2953763985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3941373112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1392098556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402968747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3913619304"/>
                    </a:ext>
                  </a:extLst>
                </a:gridCol>
              </a:tblGrid>
              <a:tr h="734524">
                <a:tc>
                  <a:txBody>
                    <a:bodyPr/>
                    <a:lstStyle/>
                    <a:p>
                      <a:pPr algn="l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2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otal admitted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6851" marR="116851" marT="58425" marB="58425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6530965"/>
                  </a:ext>
                </a:extLst>
              </a:tr>
              <a:tr h="581437">
                <a:tc>
                  <a:txBody>
                    <a:bodyPr/>
                    <a:lstStyle/>
                    <a:p>
                      <a:pPr algn="l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 dirty="0">
                          <a:solidFill>
                            <a:srgbClr val="666666"/>
                          </a:solidFill>
                          <a:effectLst/>
                        </a:rPr>
                        <a:t>2016</a:t>
                      </a:r>
                      <a:endParaRPr lang="en-US" sz="1700" b="0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 dirty="0">
                          <a:solidFill>
                            <a:srgbClr val="666666"/>
                          </a:solidFill>
                          <a:effectLst/>
                        </a:rPr>
                        <a:t>2017</a:t>
                      </a:r>
                      <a:endParaRPr lang="en-US" sz="1700" b="0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2018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2019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2020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extLst>
                  <a:ext uri="{0D108BD9-81ED-4DB2-BD59-A6C34878D82A}">
                    <a16:rowId xmlns:a16="http://schemas.microsoft.com/office/drawing/2014/main" val="1330731170"/>
                  </a:ext>
                </a:extLst>
              </a:tr>
              <a:tr h="326293"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Providence Holy Cross Medical Center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6851" marR="116851" marT="58425" marB="58425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FLU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>
                          <a:solidFill>
                            <a:srgbClr val="333333"/>
                          </a:solidFill>
                          <a:effectLst/>
                        </a:rPr>
                        <a:t>60</a:t>
                      </a:r>
                      <a:endParaRPr lang="en-US" sz="1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86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140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108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110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extLst>
                  <a:ext uri="{0D108BD9-81ED-4DB2-BD59-A6C34878D82A}">
                    <a16:rowId xmlns:a16="http://schemas.microsoft.com/office/drawing/2014/main" val="166749381"/>
                  </a:ext>
                </a:extLst>
              </a:tr>
              <a:tr h="34099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COVID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638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extLst>
                  <a:ext uri="{0D108BD9-81ED-4DB2-BD59-A6C34878D82A}">
                    <a16:rowId xmlns:a16="http://schemas.microsoft.com/office/drawing/2014/main" val="26827543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90444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C8F9F-1F22-4649-8B5C-D470068D8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-19 vs Flu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902FA4C-4AA9-4A29-8822-9C319AC164C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184576" y="1941474"/>
          <a:ext cx="9822847" cy="2040333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348552">
                  <a:extLst>
                    <a:ext uri="{9D8B030D-6E8A-4147-A177-3AD203B41FA5}">
                      <a16:colId xmlns:a16="http://schemas.microsoft.com/office/drawing/2014/main" val="3645010049"/>
                    </a:ext>
                  </a:extLst>
                </a:gridCol>
                <a:gridCol w="865525">
                  <a:extLst>
                    <a:ext uri="{9D8B030D-6E8A-4147-A177-3AD203B41FA5}">
                      <a16:colId xmlns:a16="http://schemas.microsoft.com/office/drawing/2014/main" val="957968288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2953763985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3941373112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1392098556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402968747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3913619304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1597747271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3922950948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3096368980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259712567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1062857609"/>
                    </a:ext>
                  </a:extLst>
                </a:gridCol>
              </a:tblGrid>
              <a:tr h="734524">
                <a:tc>
                  <a:txBody>
                    <a:bodyPr/>
                    <a:lstStyle/>
                    <a:p>
                      <a:pPr algn="l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2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otal admitted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6851" marR="116851" marT="58425" marB="58425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2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aximum admitted</a:t>
                      </a:r>
                    </a:p>
                    <a:p>
                      <a:pPr algn="ctr" fontAlgn="b"/>
                      <a:r>
                        <a:rPr lang="en-US" sz="2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in a month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6851" marR="116851" marT="58425" marB="58425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6530965"/>
                  </a:ext>
                </a:extLst>
              </a:tr>
              <a:tr h="581437">
                <a:tc>
                  <a:txBody>
                    <a:bodyPr/>
                    <a:lstStyle/>
                    <a:p>
                      <a:pPr algn="l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 dirty="0">
                          <a:solidFill>
                            <a:srgbClr val="666666"/>
                          </a:solidFill>
                          <a:effectLst/>
                        </a:rPr>
                        <a:t>2016</a:t>
                      </a:r>
                      <a:endParaRPr lang="en-US" sz="1700" b="0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 dirty="0">
                          <a:solidFill>
                            <a:srgbClr val="666666"/>
                          </a:solidFill>
                          <a:effectLst/>
                        </a:rPr>
                        <a:t>2017</a:t>
                      </a:r>
                      <a:endParaRPr lang="en-US" sz="1700" b="0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2018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2019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2020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2016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2017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2018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2019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2020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extLst>
                  <a:ext uri="{0D108BD9-81ED-4DB2-BD59-A6C34878D82A}">
                    <a16:rowId xmlns:a16="http://schemas.microsoft.com/office/drawing/2014/main" val="1330731170"/>
                  </a:ext>
                </a:extLst>
              </a:tr>
              <a:tr h="326293"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Providence Holy Cross Medical Center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6851" marR="116851" marT="58425" marB="58425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FLU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>
                          <a:solidFill>
                            <a:srgbClr val="333333"/>
                          </a:solidFill>
                          <a:effectLst/>
                        </a:rPr>
                        <a:t>60</a:t>
                      </a:r>
                      <a:endParaRPr lang="en-US" sz="1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86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140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108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110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>
                          <a:solidFill>
                            <a:srgbClr val="333333"/>
                          </a:solidFill>
                          <a:effectLst/>
                        </a:rPr>
                        <a:t>17</a:t>
                      </a:r>
                      <a:endParaRPr lang="en-US" sz="1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>
                          <a:solidFill>
                            <a:srgbClr val="333333"/>
                          </a:solidFill>
                          <a:effectLst/>
                        </a:rPr>
                        <a:t>31</a:t>
                      </a:r>
                      <a:endParaRPr lang="en-US" sz="1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68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26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>
                          <a:solidFill>
                            <a:srgbClr val="333333"/>
                          </a:solidFill>
                          <a:effectLst/>
                        </a:rPr>
                        <a:t>56</a:t>
                      </a:r>
                      <a:endParaRPr lang="en-US" sz="1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extLst>
                  <a:ext uri="{0D108BD9-81ED-4DB2-BD59-A6C34878D82A}">
                    <a16:rowId xmlns:a16="http://schemas.microsoft.com/office/drawing/2014/main" val="166749381"/>
                  </a:ext>
                </a:extLst>
              </a:tr>
              <a:tr h="34099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COVID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638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174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extLst>
                  <a:ext uri="{0D108BD9-81ED-4DB2-BD59-A6C34878D82A}">
                    <a16:rowId xmlns:a16="http://schemas.microsoft.com/office/drawing/2014/main" val="2682754363"/>
                  </a:ext>
                </a:extLst>
              </a:tr>
            </a:tbl>
          </a:graphicData>
        </a:graphic>
      </p:graphicFrame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3690DBB6-AB6C-43E4-ACE6-AA06CB895497}"/>
              </a:ext>
            </a:extLst>
          </p:cNvPr>
          <p:cNvCxnSpPr/>
          <p:nvPr/>
        </p:nvCxnSpPr>
        <p:spPr>
          <a:xfrm flipH="1" flipV="1">
            <a:off x="8067040" y="3667760"/>
            <a:ext cx="223520" cy="822960"/>
          </a:xfrm>
          <a:prstGeom prst="straightConnector1">
            <a:avLst/>
          </a:prstGeom>
          <a:ln w="57150">
            <a:solidFill>
              <a:schemeClr val="accent2">
                <a:lumMod val="75000"/>
              </a:schemeClr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96B00961-6FC9-4E99-A601-4B765F311E32}"/>
              </a:ext>
            </a:extLst>
          </p:cNvPr>
          <p:cNvCxnSpPr/>
          <p:nvPr/>
        </p:nvCxnSpPr>
        <p:spPr>
          <a:xfrm flipH="1" flipV="1">
            <a:off x="9425471" y="3667760"/>
            <a:ext cx="223520" cy="822960"/>
          </a:xfrm>
          <a:prstGeom prst="straightConnector1">
            <a:avLst/>
          </a:prstGeom>
          <a:ln w="57150">
            <a:solidFill>
              <a:srgbClr val="00539B"/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78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C8F9F-1F22-4649-8B5C-D470068D8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-19 vs Flu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902FA4C-4AA9-4A29-8822-9C319AC164C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184576" y="1941474"/>
          <a:ext cx="9822847" cy="2040333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348552">
                  <a:extLst>
                    <a:ext uri="{9D8B030D-6E8A-4147-A177-3AD203B41FA5}">
                      <a16:colId xmlns:a16="http://schemas.microsoft.com/office/drawing/2014/main" val="3645010049"/>
                    </a:ext>
                  </a:extLst>
                </a:gridCol>
                <a:gridCol w="865525">
                  <a:extLst>
                    <a:ext uri="{9D8B030D-6E8A-4147-A177-3AD203B41FA5}">
                      <a16:colId xmlns:a16="http://schemas.microsoft.com/office/drawing/2014/main" val="957968288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2953763985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3941373112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1392098556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402968747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3913619304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1597747271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3922950948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3096368980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259712567"/>
                    </a:ext>
                  </a:extLst>
                </a:gridCol>
                <a:gridCol w="660877">
                  <a:extLst>
                    <a:ext uri="{9D8B030D-6E8A-4147-A177-3AD203B41FA5}">
                      <a16:colId xmlns:a16="http://schemas.microsoft.com/office/drawing/2014/main" val="1062857609"/>
                    </a:ext>
                  </a:extLst>
                </a:gridCol>
              </a:tblGrid>
              <a:tr h="734524">
                <a:tc>
                  <a:txBody>
                    <a:bodyPr/>
                    <a:lstStyle/>
                    <a:p>
                      <a:pPr algn="l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2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otal admitted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6851" marR="116851" marT="58425" marB="58425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2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aximum admitted</a:t>
                      </a:r>
                    </a:p>
                    <a:p>
                      <a:pPr algn="ctr" fontAlgn="b"/>
                      <a:r>
                        <a:rPr lang="en-US" sz="2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in a month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6851" marR="116851" marT="58425" marB="58425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6530965"/>
                  </a:ext>
                </a:extLst>
              </a:tr>
              <a:tr h="581437">
                <a:tc>
                  <a:txBody>
                    <a:bodyPr/>
                    <a:lstStyle/>
                    <a:p>
                      <a:pPr algn="l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 dirty="0">
                          <a:solidFill>
                            <a:srgbClr val="666666"/>
                          </a:solidFill>
                          <a:effectLst/>
                        </a:rPr>
                        <a:t>2016</a:t>
                      </a:r>
                      <a:endParaRPr lang="en-US" sz="1700" b="0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 dirty="0">
                          <a:solidFill>
                            <a:srgbClr val="666666"/>
                          </a:solidFill>
                          <a:effectLst/>
                        </a:rPr>
                        <a:t>2017</a:t>
                      </a:r>
                      <a:endParaRPr lang="en-US" sz="1700" b="0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2018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2019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2020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2016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2017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2018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2019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2020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b"/>
                </a:tc>
                <a:extLst>
                  <a:ext uri="{0D108BD9-81ED-4DB2-BD59-A6C34878D82A}">
                    <a16:rowId xmlns:a16="http://schemas.microsoft.com/office/drawing/2014/main" val="1330731170"/>
                  </a:ext>
                </a:extLst>
              </a:tr>
              <a:tr h="326293"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Providence Holy Cross Medical Center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6851" marR="116851" marT="58425" marB="58425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FLU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>
                          <a:solidFill>
                            <a:srgbClr val="333333"/>
                          </a:solidFill>
                          <a:effectLst/>
                        </a:rPr>
                        <a:t>60</a:t>
                      </a:r>
                      <a:endParaRPr lang="en-US" sz="1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86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140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108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110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>
                          <a:solidFill>
                            <a:srgbClr val="333333"/>
                          </a:solidFill>
                          <a:effectLst/>
                        </a:rPr>
                        <a:t>17</a:t>
                      </a:r>
                      <a:endParaRPr lang="en-US" sz="1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>
                          <a:solidFill>
                            <a:srgbClr val="333333"/>
                          </a:solidFill>
                          <a:effectLst/>
                        </a:rPr>
                        <a:t>31</a:t>
                      </a:r>
                      <a:endParaRPr lang="en-US" sz="1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68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26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>
                          <a:solidFill>
                            <a:srgbClr val="333333"/>
                          </a:solidFill>
                          <a:effectLst/>
                        </a:rPr>
                        <a:t>56</a:t>
                      </a:r>
                      <a:endParaRPr lang="en-US" sz="1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extLst>
                  <a:ext uri="{0D108BD9-81ED-4DB2-BD59-A6C34878D82A}">
                    <a16:rowId xmlns:a16="http://schemas.microsoft.com/office/drawing/2014/main" val="166749381"/>
                  </a:ext>
                </a:extLst>
              </a:tr>
              <a:tr h="34099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COVID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638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174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extLst>
                  <a:ext uri="{0D108BD9-81ED-4DB2-BD59-A6C34878D82A}">
                    <a16:rowId xmlns:a16="http://schemas.microsoft.com/office/drawing/2014/main" val="2682754363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5122AEF-263E-4023-B364-D67713AA2F9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184576" y="4232593"/>
          <a:ext cx="8975424" cy="177663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519297">
                  <a:extLst>
                    <a:ext uri="{9D8B030D-6E8A-4147-A177-3AD203B41FA5}">
                      <a16:colId xmlns:a16="http://schemas.microsoft.com/office/drawing/2014/main" val="3645010049"/>
                    </a:ext>
                  </a:extLst>
                </a:gridCol>
                <a:gridCol w="928451">
                  <a:extLst>
                    <a:ext uri="{9D8B030D-6E8A-4147-A177-3AD203B41FA5}">
                      <a16:colId xmlns:a16="http://schemas.microsoft.com/office/drawing/2014/main" val="957968288"/>
                    </a:ext>
                  </a:extLst>
                </a:gridCol>
                <a:gridCol w="609140">
                  <a:extLst>
                    <a:ext uri="{9D8B030D-6E8A-4147-A177-3AD203B41FA5}">
                      <a16:colId xmlns:a16="http://schemas.microsoft.com/office/drawing/2014/main" val="3790159826"/>
                    </a:ext>
                  </a:extLst>
                </a:gridCol>
                <a:gridCol w="660456">
                  <a:extLst>
                    <a:ext uri="{9D8B030D-6E8A-4147-A177-3AD203B41FA5}">
                      <a16:colId xmlns:a16="http://schemas.microsoft.com/office/drawing/2014/main" val="13875473"/>
                    </a:ext>
                  </a:extLst>
                </a:gridCol>
                <a:gridCol w="851472">
                  <a:extLst>
                    <a:ext uri="{9D8B030D-6E8A-4147-A177-3AD203B41FA5}">
                      <a16:colId xmlns:a16="http://schemas.microsoft.com/office/drawing/2014/main" val="3852819179"/>
                    </a:ext>
                  </a:extLst>
                </a:gridCol>
                <a:gridCol w="1053893">
                  <a:extLst>
                    <a:ext uri="{9D8B030D-6E8A-4147-A177-3AD203B41FA5}">
                      <a16:colId xmlns:a16="http://schemas.microsoft.com/office/drawing/2014/main" val="1605704199"/>
                    </a:ext>
                  </a:extLst>
                </a:gridCol>
                <a:gridCol w="767755">
                  <a:extLst>
                    <a:ext uri="{9D8B030D-6E8A-4147-A177-3AD203B41FA5}">
                      <a16:colId xmlns:a16="http://schemas.microsoft.com/office/drawing/2014/main" val="4083892807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4123593425"/>
                    </a:ext>
                  </a:extLst>
                </a:gridCol>
                <a:gridCol w="670560">
                  <a:extLst>
                    <a:ext uri="{9D8B030D-6E8A-4147-A177-3AD203B41FA5}">
                      <a16:colId xmlns:a16="http://schemas.microsoft.com/office/drawing/2014/main" val="3856982511"/>
                    </a:ext>
                  </a:extLst>
                </a:gridCol>
              </a:tblGrid>
              <a:tr h="542607">
                <a:tc>
                  <a:txBody>
                    <a:bodyPr/>
                    <a:lstStyle/>
                    <a:p>
                      <a:pPr algn="l" fontAlgn="b"/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characteristics</a:t>
                      </a:r>
                    </a:p>
                  </a:txBody>
                  <a:tcPr marL="9913" marR="9913" marT="9913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7" marR="7757" marT="7757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7" marR="7757" marT="7757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7" marR="7757" marT="7757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7" marR="7757" marT="7757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57" marR="7757" marT="7757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6530965"/>
                  </a:ext>
                </a:extLst>
              </a:tr>
              <a:tr h="581437">
                <a:tc>
                  <a:txBody>
                    <a:bodyPr/>
                    <a:lstStyle/>
                    <a:p>
                      <a:pPr algn="l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913" marR="9913" marT="991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 dirty="0">
                          <a:solidFill>
                            <a:srgbClr val="666666"/>
                          </a:solidFill>
                          <a:effectLst/>
                        </a:rPr>
                        <a:t>Avg Age</a:t>
                      </a:r>
                      <a:endParaRPr lang="en-US" sz="1700" b="0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 dirty="0">
                          <a:solidFill>
                            <a:srgbClr val="666666"/>
                          </a:solidFill>
                          <a:effectLst/>
                        </a:rPr>
                        <a:t>Avg LOS</a:t>
                      </a:r>
                      <a:endParaRPr lang="en-US" sz="1700" b="0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Went to ICU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Avg ICU LOS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Vented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u="none" strike="noStrike" dirty="0">
                          <a:solidFill>
                            <a:srgbClr val="666666"/>
                          </a:solidFill>
                          <a:effectLst/>
                        </a:rPr>
                        <a:t>Avg Vent duration</a:t>
                      </a:r>
                      <a:endParaRPr lang="en-US" sz="1700" b="0" i="0" u="none" strike="noStrike" dirty="0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0" i="0" u="none" strike="noStrike" dirty="0">
                          <a:solidFill>
                            <a:srgbClr val="666666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Died</a:t>
                      </a:r>
                    </a:p>
                  </a:txBody>
                  <a:tcPr marL="9913" marR="9913" marT="9913" marB="0" anchor="ctr"/>
                </a:tc>
                <a:extLst>
                  <a:ext uri="{0D108BD9-81ED-4DB2-BD59-A6C34878D82A}">
                    <a16:rowId xmlns:a16="http://schemas.microsoft.com/office/drawing/2014/main" val="1330731170"/>
                  </a:ext>
                </a:extLst>
              </a:tr>
              <a:tr h="326293"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Providence Holy Cross Medical Center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6851" marR="116851" marT="58425" marB="58425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FLU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>
                          <a:solidFill>
                            <a:srgbClr val="333333"/>
                          </a:solidFill>
                          <a:effectLst/>
                        </a:rPr>
                        <a:t>69</a:t>
                      </a:r>
                      <a:endParaRPr lang="en-US" sz="1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5.2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12%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4.4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1%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7.3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 dirty="0">
                          <a:solidFill>
                            <a:srgbClr val="333333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%</a:t>
                      </a:r>
                    </a:p>
                  </a:txBody>
                  <a:tcPr marL="9913" marR="9913" marT="9913" marB="0" anchor="ctr"/>
                </a:tc>
                <a:extLst>
                  <a:ext uri="{0D108BD9-81ED-4DB2-BD59-A6C34878D82A}">
                    <a16:rowId xmlns:a16="http://schemas.microsoft.com/office/drawing/2014/main" val="166749381"/>
                  </a:ext>
                </a:extLst>
              </a:tr>
              <a:tr h="32629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700" b="0" u="none" strike="noStrike">
                          <a:solidFill>
                            <a:srgbClr val="666666"/>
                          </a:solidFill>
                          <a:effectLst/>
                        </a:rPr>
                        <a:t>COVID</a:t>
                      </a:r>
                      <a:endParaRPr lang="en-US" sz="1700" b="0" i="0" u="none" strike="noStrike">
                        <a:solidFill>
                          <a:srgbClr val="6666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>
                          <a:solidFill>
                            <a:srgbClr val="333333"/>
                          </a:solidFill>
                          <a:effectLst/>
                        </a:rPr>
                        <a:t>63</a:t>
                      </a:r>
                      <a:endParaRPr lang="en-US" sz="1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>
                          <a:solidFill>
                            <a:srgbClr val="333333"/>
                          </a:solidFill>
                          <a:effectLst/>
                        </a:rPr>
                        <a:t>10.0</a:t>
                      </a:r>
                      <a:endParaRPr lang="en-US" sz="1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>
                          <a:solidFill>
                            <a:srgbClr val="333333"/>
                          </a:solidFill>
                          <a:effectLst/>
                        </a:rPr>
                        <a:t>16%</a:t>
                      </a:r>
                      <a:endParaRPr lang="en-US" sz="1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>
                          <a:solidFill>
                            <a:srgbClr val="333333"/>
                          </a:solidFill>
                          <a:effectLst/>
                        </a:rPr>
                        <a:t>10.3</a:t>
                      </a:r>
                      <a:endParaRPr lang="en-US" sz="17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20%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u="none" strike="noStrike" dirty="0">
                          <a:solidFill>
                            <a:srgbClr val="333333"/>
                          </a:solidFill>
                          <a:effectLst/>
                        </a:rPr>
                        <a:t>12.3</a:t>
                      </a:r>
                      <a:endParaRPr lang="en-US" sz="17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913" marR="9913" marT="99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700" b="0" i="0" u="none" strike="noStrike" dirty="0">
                          <a:solidFill>
                            <a:srgbClr val="333333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3%</a:t>
                      </a:r>
                    </a:p>
                  </a:txBody>
                  <a:tcPr marL="9913" marR="9913" marT="9913" marB="0" anchor="ctr"/>
                </a:tc>
                <a:extLst>
                  <a:ext uri="{0D108BD9-81ED-4DB2-BD59-A6C34878D82A}">
                    <a16:rowId xmlns:a16="http://schemas.microsoft.com/office/drawing/2014/main" val="2682754363"/>
                  </a:ext>
                </a:extLst>
              </a:tr>
            </a:tbl>
          </a:graphicData>
        </a:graphic>
      </p:graphicFrame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7B4458A5-3143-4A3F-998C-510F2D6F227F}"/>
              </a:ext>
            </a:extLst>
          </p:cNvPr>
          <p:cNvCxnSpPr>
            <a:cxnSpLocks/>
          </p:cNvCxnSpPr>
          <p:nvPr/>
        </p:nvCxnSpPr>
        <p:spPr>
          <a:xfrm flipH="1" flipV="1">
            <a:off x="5585928" y="6048419"/>
            <a:ext cx="172720" cy="423180"/>
          </a:xfrm>
          <a:prstGeom prst="straightConnector1">
            <a:avLst/>
          </a:prstGeom>
          <a:ln w="57150">
            <a:solidFill>
              <a:schemeClr val="accent2">
                <a:lumMod val="75000"/>
              </a:schemeClr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B04AA44A-FDCE-4718-BE66-7DB9DF8437E6}"/>
              </a:ext>
            </a:extLst>
          </p:cNvPr>
          <p:cNvCxnSpPr>
            <a:cxnSpLocks/>
          </p:cNvCxnSpPr>
          <p:nvPr/>
        </p:nvCxnSpPr>
        <p:spPr>
          <a:xfrm flipH="1" flipV="1">
            <a:off x="8207208" y="6048419"/>
            <a:ext cx="172720" cy="423180"/>
          </a:xfrm>
          <a:prstGeom prst="straightConnector1">
            <a:avLst/>
          </a:prstGeom>
          <a:ln w="57150">
            <a:solidFill>
              <a:schemeClr val="accent2">
                <a:lumMod val="75000"/>
              </a:schemeClr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348D7654-E059-488A-A5F7-C612B743D787}"/>
              </a:ext>
            </a:extLst>
          </p:cNvPr>
          <p:cNvCxnSpPr>
            <a:cxnSpLocks/>
          </p:cNvCxnSpPr>
          <p:nvPr/>
        </p:nvCxnSpPr>
        <p:spPr>
          <a:xfrm flipH="1" flipV="1">
            <a:off x="7272488" y="6048419"/>
            <a:ext cx="172720" cy="423180"/>
          </a:xfrm>
          <a:prstGeom prst="straightConnector1">
            <a:avLst/>
          </a:prstGeom>
          <a:ln w="57150">
            <a:solidFill>
              <a:schemeClr val="accent2">
                <a:lumMod val="75000"/>
              </a:schemeClr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D3B7F83-409A-44BD-AB65-A4FA8639D51D}"/>
              </a:ext>
            </a:extLst>
          </p:cNvPr>
          <p:cNvCxnSpPr>
            <a:cxnSpLocks/>
          </p:cNvCxnSpPr>
          <p:nvPr/>
        </p:nvCxnSpPr>
        <p:spPr>
          <a:xfrm flipH="1" flipV="1">
            <a:off x="9751528" y="6048419"/>
            <a:ext cx="172720" cy="423180"/>
          </a:xfrm>
          <a:prstGeom prst="straightConnector1">
            <a:avLst/>
          </a:prstGeom>
          <a:ln w="57150">
            <a:solidFill>
              <a:schemeClr val="accent2">
                <a:lumMod val="75000"/>
              </a:schemeClr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56927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69981E7-C321-AF40-B615-5D3FBAC761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ovid-19 Test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5322155-7B06-0B46-A1AD-80156C55010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787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5118" y="-2693"/>
            <a:ext cx="9784080" cy="1508760"/>
          </a:xfrm>
        </p:spPr>
        <p:txBody>
          <a:bodyPr>
            <a:normAutofit/>
          </a:bodyPr>
          <a:lstStyle/>
          <a:p>
            <a:r>
              <a:rPr lang="en-US" sz="5400" dirty="0"/>
              <a:t>TEST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142234"/>
            <a:ext cx="12192000" cy="727665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7141721"/>
              </p:ext>
            </p:extLst>
          </p:nvPr>
        </p:nvGraphicFramePr>
        <p:xfrm>
          <a:off x="717297" y="1263097"/>
          <a:ext cx="3810000" cy="27757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14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85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6118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Availability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8087">
                <a:tc>
                  <a:txBody>
                    <a:bodyPr/>
                    <a:lstStyle/>
                    <a:p>
                      <a:r>
                        <a:rPr lang="en-US" sz="2000" b="1" dirty="0"/>
                        <a:t>Abbot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8353">
                <a:tc>
                  <a:txBody>
                    <a:bodyPr/>
                    <a:lstStyle/>
                    <a:p>
                      <a:r>
                        <a:rPr lang="en-US" sz="2000" b="1" dirty="0"/>
                        <a:t>Cephe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3711">
                <a:tc>
                  <a:txBody>
                    <a:bodyPr/>
                    <a:lstStyle/>
                    <a:p>
                      <a:r>
                        <a:rPr lang="en-US" sz="2000" b="1" dirty="0" err="1"/>
                        <a:t>Alinity</a:t>
                      </a:r>
                      <a:r>
                        <a:rPr lang="en-US" sz="2000" b="1" dirty="0"/>
                        <a:t> 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3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3711">
                <a:tc>
                  <a:txBody>
                    <a:bodyPr/>
                    <a:lstStyle/>
                    <a:p>
                      <a:r>
                        <a:rPr lang="en-US" sz="2000" b="1" dirty="0"/>
                        <a:t>BD</a:t>
                      </a:r>
                      <a:r>
                        <a:rPr lang="en-US" sz="2000" b="1" baseline="0" dirty="0"/>
                        <a:t> Max</a:t>
                      </a:r>
                      <a:endParaRPr lang="en-US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9134">
                <a:tc>
                  <a:txBody>
                    <a:bodyPr/>
                    <a:lstStyle/>
                    <a:p>
                      <a:r>
                        <a:rPr lang="en-US" sz="2000" b="1" dirty="0"/>
                        <a:t>NP Swa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9008">
                <a:tc>
                  <a:txBody>
                    <a:bodyPr/>
                    <a:lstStyle/>
                    <a:p>
                      <a:r>
                        <a:rPr lang="en-US" sz="2000" b="1" dirty="0"/>
                        <a:t>VT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15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7" name="Content Placeholder 2"/>
          <p:cNvSpPr txBox="1">
            <a:spLocks/>
          </p:cNvSpPr>
          <p:nvPr/>
        </p:nvSpPr>
        <p:spPr>
          <a:xfrm>
            <a:off x="1283074" y="4701371"/>
            <a:ext cx="10769708" cy="14780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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0080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8680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846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718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9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062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33680" y="4644293"/>
            <a:ext cx="11724640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BD Max shipment delayed until 8/21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CMG to receive full shipment today; increase weekly kits from 42 to 60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CHP Antibody testing – no repor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Concerns regarding Cepheid meeting deman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4156509"/>
              </p:ext>
            </p:extLst>
          </p:nvPr>
        </p:nvGraphicFramePr>
        <p:xfrm>
          <a:off x="5369896" y="1215071"/>
          <a:ext cx="6281901" cy="34292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15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12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87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31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30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11185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MC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G/CMG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185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s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s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0659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8353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9134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4556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7687">
                <a:tc>
                  <a:txBody>
                    <a:bodyPr/>
                    <a:lstStyle/>
                    <a:p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mulative Perform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56042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5118" y="-2693"/>
            <a:ext cx="9784080" cy="1508760"/>
          </a:xfrm>
        </p:spPr>
        <p:txBody>
          <a:bodyPr>
            <a:normAutofit/>
          </a:bodyPr>
          <a:lstStyle/>
          <a:p>
            <a:r>
              <a:rPr lang="en-US" sz="5400" dirty="0">
                <a:solidFill>
                  <a:schemeClr val="bg1"/>
                </a:solidFill>
              </a:rPr>
              <a:t>TESTING – STATEWIDE Results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142234"/>
            <a:ext cx="12192000" cy="727665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44942"/>
            <a:ext cx="12192000" cy="4716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1689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5E032-7901-EC4D-96FF-EDF098D1991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turning to Operation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8F8702-33D7-3947-9266-54FC2FBE55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0880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DE6360-1C33-454B-A007-7C32FFDF35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afety Stor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798047-3282-E44E-98C6-9B3A00BF53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3724102"/>
            <a:ext cx="8534400" cy="1381298"/>
          </a:xfrm>
        </p:spPr>
        <p:txBody>
          <a:bodyPr/>
          <a:lstStyle/>
          <a:p>
            <a:r>
              <a:rPr lang="en-US" dirty="0"/>
              <a:t>Craig Rhyne, MD FACS</a:t>
            </a:r>
          </a:p>
        </p:txBody>
      </p:sp>
    </p:spTree>
    <p:extLst>
      <p:ext uri="{BB962C8B-B14F-4D97-AF65-F5344CB8AC3E}">
        <p14:creationId xmlns:p14="http://schemas.microsoft.com/office/powerpoint/2010/main" val="21525398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235985"/>
            <a:ext cx="12192000" cy="14856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39472" y="259799"/>
            <a:ext cx="9784080" cy="150876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/>
              <a:t>Caregiver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480486" y="6076285"/>
            <a:ext cx="9459420" cy="369332"/>
            <a:chOff x="2267436" y="6275179"/>
            <a:chExt cx="9459420" cy="369332"/>
          </a:xfrm>
        </p:grpSpPr>
        <p:sp>
          <p:nvSpPr>
            <p:cNvPr id="4" name="Rectangle 3"/>
            <p:cNvSpPr/>
            <p:nvPr/>
          </p:nvSpPr>
          <p:spPr>
            <a:xfrm>
              <a:off x="7016597" y="6281124"/>
              <a:ext cx="1351722" cy="308113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Good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10375134" y="6292274"/>
              <a:ext cx="1351722" cy="308113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ritical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8709562" y="6297689"/>
              <a:ext cx="1351722" cy="308113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Moderate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267436" y="6275179"/>
              <a:ext cx="477919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Count reflects # furlough (exposed and positive)</a:t>
              </a:r>
            </a:p>
          </p:txBody>
        </p:sp>
      </p:grpSp>
      <p:sp>
        <p:nvSpPr>
          <p:cNvPr id="11" name="Rectangle 10"/>
          <p:cNvSpPr/>
          <p:nvPr/>
        </p:nvSpPr>
        <p:spPr>
          <a:xfrm>
            <a:off x="0" y="861927"/>
            <a:ext cx="12192000" cy="9723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6052" y="863559"/>
            <a:ext cx="449911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COVID Related Furloughs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137" y="1448334"/>
            <a:ext cx="11425159" cy="4417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71468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039" y="-36385"/>
            <a:ext cx="9784080" cy="1508760"/>
          </a:xfrm>
        </p:spPr>
        <p:txBody>
          <a:bodyPr>
            <a:normAutofit/>
          </a:bodyPr>
          <a:lstStyle/>
          <a:p>
            <a:r>
              <a:rPr lang="en-US" sz="6000" dirty="0"/>
              <a:t>Critical Inventory - REH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049651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0" y="940364"/>
            <a:ext cx="256467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/>
              <a:t>REH UPDAT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5070" y="1602874"/>
            <a:ext cx="9613315" cy="5124912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8795687" y="6084065"/>
            <a:ext cx="1622698" cy="643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528464" y="3312783"/>
            <a:ext cx="281798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u="sng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R/PAPR</a:t>
            </a:r>
          </a:p>
          <a:p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weeks expanded</a:t>
            </a:r>
          </a:p>
          <a:p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16 weeks for delivery</a:t>
            </a:r>
          </a:p>
          <a:p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314404" y="3312783"/>
            <a:ext cx="281798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u="sng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-95 Masks</a:t>
            </a:r>
          </a:p>
          <a:p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0K Current</a:t>
            </a:r>
          </a:p>
          <a:p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3M 1860, 1860S 1780+</a:t>
            </a:r>
          </a:p>
          <a:p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5 M coming 10 days</a:t>
            </a:r>
          </a:p>
          <a:p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Hurley Mask - China</a:t>
            </a:r>
          </a:p>
          <a:p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404448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43626" y="-75336"/>
            <a:ext cx="11065608" cy="1508760"/>
          </a:xfrm>
        </p:spPr>
        <p:txBody>
          <a:bodyPr>
            <a:normAutofit/>
          </a:bodyPr>
          <a:lstStyle/>
          <a:p>
            <a:pPr algn="ctr"/>
            <a:r>
              <a:rPr lang="en-US" sz="5400" dirty="0">
                <a:latin typeface="Arial" panose="020B0604020202020204" pitchFamily="34" charset="0"/>
                <a:cs typeface="Arial" panose="020B0604020202020204" pitchFamily="34" charset="0"/>
              </a:rPr>
              <a:t>COVID Supplies/equipment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065700"/>
            <a:ext cx="12192000" cy="8861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3041" y="1065700"/>
            <a:ext cx="10372273" cy="5416868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spAutoFit/>
          </a:bodyPr>
          <a:lstStyle/>
          <a:p>
            <a:pPr lvl="1" defTabSz="457200">
              <a:spcAft>
                <a:spcPts val="600"/>
              </a:spcAft>
            </a:pP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State delivered supplies/equipment</a:t>
            </a:r>
          </a:p>
          <a:p>
            <a:pPr lvl="1" defTabSz="457200">
              <a:spcAft>
                <a:spcPts val="600"/>
              </a:spcAft>
            </a:pPr>
            <a:endParaRPr lang="en-US" sz="4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28700" lvl="1" indent="-571500" defTabSz="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Received 10,000 gowns, 7000 </a:t>
            </a:r>
            <a:r>
              <a:rPr lang="en-US" sz="3600" dirty="0" err="1">
                <a:latin typeface="Arial" panose="020B0604020202020204" pitchFamily="34" charset="0"/>
                <a:cs typeface="Arial" panose="020B0604020202020204" pitchFamily="34" charset="0"/>
              </a:rPr>
              <a:t>bouffants</a:t>
            </a:r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 and 10,000 shoe covers</a:t>
            </a:r>
          </a:p>
          <a:p>
            <a:pPr marL="1028700" lvl="1" indent="-571500" defTabSz="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21 Negative Air Fans delivered 8/18</a:t>
            </a:r>
          </a:p>
          <a:p>
            <a:pPr marL="1028700" lvl="1" indent="-571500" defTabSz="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City EOC has placed an order for </a:t>
            </a:r>
            <a:r>
              <a:rPr lang="en-US" sz="3600" dirty="0" err="1">
                <a:latin typeface="Arial" panose="020B0604020202020204" pitchFamily="34" charset="0"/>
                <a:cs typeface="Arial" panose="020B0604020202020204" pitchFamily="34" charset="0"/>
              </a:rPr>
              <a:t>Remdesivir</a:t>
            </a:r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28700" lvl="1" indent="-571500" defTabSz="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20 Humidification systems received 8/19</a:t>
            </a:r>
          </a:p>
          <a:p>
            <a:pPr lvl="1" defTabSz="457200">
              <a:spcAft>
                <a:spcPts val="1200"/>
              </a:spcAft>
            </a:pPr>
            <a:endParaRPr lang="en-US" sz="36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41474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638E9B-3348-2E48-AEC6-0F9DC26A23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harmacy Upd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FB1F05-386F-0540-9F30-D1AFFBA4E7F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anchor="t"/>
          <a:lstStyle/>
          <a:p>
            <a:r>
              <a:rPr lang="en-US" dirty="0">
                <a:ea typeface="+mn-lt"/>
                <a:cs typeface="+mn-lt"/>
              </a:rPr>
              <a:t>Larry Pineda, </a:t>
            </a:r>
            <a:r>
              <a:rPr lang="en-US" dirty="0" err="1">
                <a:ea typeface="+mn-lt"/>
                <a:cs typeface="+mn-lt"/>
              </a:rPr>
              <a:t>PharmD</a:t>
            </a:r>
            <a:endParaRPr lang="en-US" dirty="0">
              <a:ea typeface="+mn-lt"/>
              <a:cs typeface="+mn-lt"/>
            </a:endParaRPr>
          </a:p>
          <a:p>
            <a:r>
              <a:rPr lang="en-US" sz="2800" dirty="0">
                <a:ea typeface="+mn-lt"/>
                <a:cs typeface="+mn-lt"/>
              </a:rPr>
              <a:t>Clinical Pharmacist – AMS </a:t>
            </a:r>
          </a:p>
          <a:p>
            <a:r>
              <a:rPr lang="en-US" sz="2800" dirty="0">
                <a:ea typeface="+mn-lt"/>
                <a:cs typeface="+mn-lt"/>
              </a:rPr>
              <a:t>Covenant Health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8446126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S COVID-19 Treatment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369570" y="1326692"/>
          <a:ext cx="11452859" cy="4419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97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830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185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414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72618">
                <a:tc>
                  <a:txBody>
                    <a:bodyPr/>
                    <a:lstStyle/>
                    <a:p>
                      <a:r>
                        <a:rPr lang="en-US" sz="1400" dirty="0"/>
                        <a:t>Ag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Dos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om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Upd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83310">
                <a:tc>
                  <a:txBody>
                    <a:bodyPr/>
                    <a:lstStyle/>
                    <a:p>
                      <a:r>
                        <a:rPr lang="en-US" sz="1400" dirty="0" err="1"/>
                        <a:t>Remdesivir</a:t>
                      </a:r>
                      <a:endParaRPr lang="en-US" sz="1400" dirty="0"/>
                    </a:p>
                    <a:p>
                      <a:endParaRPr lang="en-US" sz="140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Emergency Use</a:t>
                      </a:r>
                      <a:r>
                        <a:rPr lang="en-US" sz="1400" b="0" baseline="0" dirty="0"/>
                        <a:t> </a:t>
                      </a:r>
                      <a:r>
                        <a:rPr lang="en-US" sz="1400" b="0" dirty="0"/>
                        <a:t>Authorization (EUA) 5/1/20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dirty="0"/>
                        <a:t>200 mg IV x 1, then 100 mg IV daily x 4</a:t>
                      </a:r>
                      <a:r>
                        <a:rPr lang="en-US" sz="1400" b="0" baseline="0" dirty="0"/>
                        <a:t> </a:t>
                      </a:r>
                      <a:r>
                        <a:rPr lang="en-US" sz="1400" b="0" dirty="0"/>
                        <a:t>day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baseline="0" dirty="0"/>
                        <a:t>EUA product a</a:t>
                      </a:r>
                      <a:r>
                        <a:rPr lang="en-US" sz="1400" b="0" baseline="0" dirty="0"/>
                        <a:t>llocation determination: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400" b="0" baseline="0" dirty="0"/>
                        <a:t>Submitting usage and inventories daily to HHS. Allocation is not based on our usage but other COVID reported metrics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1" baseline="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baseline="0" dirty="0"/>
                        <a:t>NIH guidelines (July 24, 2020):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baseline="0" dirty="0"/>
                        <a:t>Because supplies are limited, recommend prioritizing for patients who require supplemental O2 but who are NOT on: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baseline="0" dirty="0"/>
                        <a:t>high-flow oxygen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baseline="0" dirty="0"/>
                        <a:t>noninvasive ventilation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baseline="0" dirty="0"/>
                        <a:t>mechanical ventilation, or ECMO</a:t>
                      </a:r>
                      <a:endParaRPr lang="en-US" sz="1400" b="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err="1"/>
                        <a:t>Remdesivir</a:t>
                      </a:r>
                      <a:r>
                        <a:rPr lang="en-US" sz="1400" b="1" dirty="0"/>
                        <a:t> EUA Inventory:</a:t>
                      </a:r>
                      <a:r>
                        <a:rPr lang="en-US" sz="1400" b="1" baseline="0" dirty="0"/>
                        <a:t> </a:t>
                      </a:r>
                      <a:r>
                        <a:rPr lang="en-US" sz="1400" b="0" baseline="0" dirty="0"/>
                        <a:t>(Thursday AM)</a:t>
                      </a:r>
                    </a:p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baseline="0" dirty="0"/>
                        <a:t>CMC = 309 vials; Plainview = 98 vials</a:t>
                      </a:r>
                    </a:p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1" dirty="0" err="1"/>
                        <a:t>Remdesivir</a:t>
                      </a:r>
                      <a:r>
                        <a:rPr lang="en-US" sz="1400" b="1" baseline="0" dirty="0"/>
                        <a:t> EUA Patients: </a:t>
                      </a:r>
                      <a:r>
                        <a:rPr lang="en-US" sz="1400" b="0" baseline="0" dirty="0"/>
                        <a:t>(Thursday AM)</a:t>
                      </a:r>
                    </a:p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baseline="0" dirty="0"/>
                        <a:t>CMC = 6; Plainview = 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baseline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312">
                <a:tc>
                  <a:txBody>
                    <a:bodyPr/>
                    <a:lstStyle/>
                    <a:p>
                      <a:r>
                        <a:rPr lang="en-US" sz="1400" dirty="0"/>
                        <a:t>Convalescent</a:t>
                      </a:r>
                      <a:r>
                        <a:rPr lang="en-US" sz="1400" baseline="0" dirty="0"/>
                        <a:t> </a:t>
                      </a:r>
                      <a:r>
                        <a:rPr lang="en-US" sz="1400" dirty="0"/>
                        <a:t>Plasm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</a:t>
                      </a:r>
                      <a:r>
                        <a:rPr lang="en-US" sz="1400" baseline="0" dirty="0"/>
                        <a:t> unit (200-400mL)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MC</a:t>
                      </a:r>
                      <a:r>
                        <a:rPr lang="en-US" sz="1400" baseline="0" dirty="0"/>
                        <a:t> e</a:t>
                      </a:r>
                      <a:r>
                        <a:rPr lang="en-US" sz="1400" dirty="0"/>
                        <a:t>nrolled in Mayo tr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Enrolled 79 patients to d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54284">
                <a:tc>
                  <a:txBody>
                    <a:bodyPr/>
                    <a:lstStyle/>
                    <a:p>
                      <a:r>
                        <a:rPr lang="en-US" sz="1400" dirty="0"/>
                        <a:t>Dexamethas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6 mg IV/PO daily x 10 day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Alternatives</a:t>
                      </a:r>
                      <a:r>
                        <a:rPr lang="en-US" sz="1400" b="0" baseline="0" dirty="0"/>
                        <a:t> if dexamethasone is unavailable: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400" b="0" baseline="0" dirty="0"/>
                        <a:t>Prednisone, methylprednisolone, hydrocortis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NIH guidelines: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dirty="0"/>
                        <a:t>Recommend use in </a:t>
                      </a:r>
                      <a:r>
                        <a:rPr lang="en-US" sz="1400" b="0" dirty="0" err="1"/>
                        <a:t>mech</a:t>
                      </a:r>
                      <a:r>
                        <a:rPr lang="en-US" sz="1400" b="0" dirty="0"/>
                        <a:t> ventilated</a:t>
                      </a:r>
                      <a:r>
                        <a:rPr lang="en-US" sz="1400" b="0" u="none" dirty="0"/>
                        <a:t> patients (AI) or those on supplemental oxygen (BI)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u="none" dirty="0"/>
                        <a:t>Recommend against use for patients who do not require supplemental oxygen (AI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33487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2E13C0-2AD8-47DB-815C-CA73FE2CB8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armacy Shortages/Alloc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087979-DCA8-4EEB-A9EE-5FF6E60AAB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8817" y="1208569"/>
            <a:ext cx="4543260" cy="4906963"/>
          </a:xfrm>
        </p:spPr>
        <p:txBody>
          <a:bodyPr anchor="t"/>
          <a:lstStyle/>
          <a:p>
            <a:r>
              <a:rPr lang="en-US" sz="2400" dirty="0"/>
              <a:t>Covid-19 Related</a:t>
            </a:r>
          </a:p>
          <a:p>
            <a:pPr lvl="1"/>
            <a:r>
              <a:rPr lang="en-US" sz="1800" dirty="0" err="1"/>
              <a:t>Cisatracurium</a:t>
            </a:r>
            <a:endParaRPr lang="en-US" sz="1800" dirty="0"/>
          </a:p>
          <a:p>
            <a:pPr lvl="1"/>
            <a:r>
              <a:rPr lang="en-US" sz="1800" dirty="0"/>
              <a:t>Rocuronium</a:t>
            </a:r>
          </a:p>
          <a:p>
            <a:pPr lvl="1"/>
            <a:r>
              <a:rPr lang="en-US" sz="1800" dirty="0"/>
              <a:t>Vecuronium</a:t>
            </a:r>
          </a:p>
          <a:p>
            <a:pPr lvl="1"/>
            <a:r>
              <a:rPr lang="en-US" sz="1800" b="1" dirty="0"/>
              <a:t>Propofol </a:t>
            </a:r>
          </a:p>
          <a:p>
            <a:pPr lvl="2"/>
            <a:r>
              <a:rPr lang="en-US" sz="1400" dirty="0"/>
              <a:t>Keeping close eye</a:t>
            </a:r>
            <a:endParaRPr lang="en-US" sz="1400" b="1" dirty="0"/>
          </a:p>
          <a:p>
            <a:pPr lvl="1"/>
            <a:r>
              <a:rPr lang="en-US" sz="1800" dirty="0"/>
              <a:t>Fentanyl</a:t>
            </a:r>
          </a:p>
          <a:p>
            <a:pPr lvl="1"/>
            <a:r>
              <a:rPr lang="en-US" sz="1800" dirty="0"/>
              <a:t>Vitamin C Liquid and </a:t>
            </a:r>
            <a:r>
              <a:rPr lang="en-US" sz="1800" dirty="0" err="1"/>
              <a:t>Inj</a:t>
            </a:r>
            <a:endParaRPr lang="en-US" sz="1800" dirty="0"/>
          </a:p>
          <a:p>
            <a:pPr lvl="1"/>
            <a:r>
              <a:rPr lang="en-US" sz="1800" b="1" dirty="0"/>
              <a:t>Dexamethasone </a:t>
            </a:r>
            <a:r>
              <a:rPr lang="en-US" sz="1800" b="1" dirty="0" err="1"/>
              <a:t>Inj</a:t>
            </a:r>
            <a:r>
              <a:rPr lang="en-US" sz="1800" b="1" dirty="0"/>
              <a:t> and Tabs</a:t>
            </a:r>
          </a:p>
          <a:p>
            <a:pPr lvl="2"/>
            <a:r>
              <a:rPr lang="en-US" sz="1400" dirty="0">
                <a:cs typeface="Calibri"/>
              </a:rPr>
              <a:t>Request override weekly</a:t>
            </a:r>
            <a:endParaRPr lang="en-US" sz="1400" dirty="0"/>
          </a:p>
          <a:p>
            <a:pPr lvl="1"/>
            <a:r>
              <a:rPr lang="en-US" sz="1800" dirty="0"/>
              <a:t>Ivermectin</a:t>
            </a:r>
          </a:p>
          <a:p>
            <a:pPr lvl="1"/>
            <a:r>
              <a:rPr lang="en-US" sz="1800" b="1" dirty="0">
                <a:cs typeface="Calibri"/>
              </a:rPr>
              <a:t>Zinc Sulfate Tabs</a:t>
            </a:r>
          </a:p>
          <a:p>
            <a:pPr lvl="2"/>
            <a:r>
              <a:rPr lang="en-US" sz="1400" dirty="0">
                <a:cs typeface="Calibri"/>
              </a:rPr>
              <a:t>Request override weekly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1049E37-ED62-4510-8AD3-2B3E05ED66E4}"/>
              </a:ext>
            </a:extLst>
          </p:cNvPr>
          <p:cNvSpPr txBox="1">
            <a:spLocks/>
          </p:cNvSpPr>
          <p:nvPr/>
        </p:nvSpPr>
        <p:spPr>
          <a:xfrm>
            <a:off x="6609905" y="1219203"/>
            <a:ext cx="4649333" cy="4906963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93B3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n-Covid-19 Related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93B3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metanide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93B3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miodarone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93B3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pamine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93B3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butamine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93B3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xycyclin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93B3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j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93B3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93B3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itroglycerin SDV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93B3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pivacaine with epinephrine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93B3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docaine with epinephrine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93B3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lbuphin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93B3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j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93B3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31741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IH </a:t>
            </a:r>
            <a:r>
              <a:rPr lang="en-US" dirty="0" err="1"/>
              <a:t>Remdesivir</a:t>
            </a:r>
            <a:r>
              <a:rPr lang="en-US" dirty="0"/>
              <a:t> Recommend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Last Updated: July 24, 2020</a:t>
            </a:r>
          </a:p>
          <a:p>
            <a:r>
              <a:rPr lang="en-US" b="1" dirty="0"/>
              <a:t>Because </a:t>
            </a:r>
            <a:r>
              <a:rPr lang="en-US" b="1" dirty="0" err="1"/>
              <a:t>remdesivir</a:t>
            </a:r>
            <a:r>
              <a:rPr lang="en-US" b="1" dirty="0"/>
              <a:t> supplies are limited</a:t>
            </a:r>
            <a:r>
              <a:rPr lang="en-US" dirty="0"/>
              <a:t>, the panel recommends that </a:t>
            </a:r>
            <a:r>
              <a:rPr lang="en-US" dirty="0" err="1"/>
              <a:t>remdesivir</a:t>
            </a:r>
            <a:r>
              <a:rPr lang="en-US" dirty="0"/>
              <a:t> be </a:t>
            </a:r>
            <a:r>
              <a:rPr lang="en-US" b="1" dirty="0"/>
              <a:t>prioritized</a:t>
            </a:r>
            <a:r>
              <a:rPr lang="en-US" dirty="0"/>
              <a:t> for use in hospitalized patients with COVID-19 who require supplemental oxygen but who are </a:t>
            </a:r>
            <a:r>
              <a:rPr lang="en-US" b="1" dirty="0"/>
              <a:t>not</a:t>
            </a:r>
            <a:r>
              <a:rPr lang="en-US" dirty="0"/>
              <a:t> on high-flow oxygen, noninvasive ventilation, mechanical ventilation, or extracorporeal membrane oxygenation (ECMO) </a:t>
            </a:r>
            <a:r>
              <a:rPr lang="en-US" b="1" dirty="0"/>
              <a:t>(BI)</a:t>
            </a:r>
          </a:p>
        </p:txBody>
      </p:sp>
    </p:spTree>
    <p:extLst>
      <p:ext uri="{BB962C8B-B14F-4D97-AF65-F5344CB8AC3E}">
        <p14:creationId xmlns:p14="http://schemas.microsoft.com/office/powerpoint/2010/main" val="42658866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IH </a:t>
            </a:r>
            <a:r>
              <a:rPr lang="en-US" dirty="0" err="1"/>
              <a:t>Remdesivir</a:t>
            </a:r>
            <a:r>
              <a:rPr lang="en-US" dirty="0"/>
              <a:t> Recommend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" name="Diagram 3"/>
          <p:cNvGraphicFramePr/>
          <p:nvPr>
            <p:extLst/>
          </p:nvPr>
        </p:nvGraphicFramePr>
        <p:xfrm>
          <a:off x="2147529" y="1091380"/>
          <a:ext cx="7896942" cy="50076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423318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ng Y et 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Randomized, double-blind, placebo controlled trial in hospitalized adults with </a:t>
            </a:r>
            <a:r>
              <a:rPr lang="en-US" b="1" dirty="0"/>
              <a:t>severe</a:t>
            </a:r>
            <a:r>
              <a:rPr lang="en-US" dirty="0"/>
              <a:t> COVID-19 in China</a:t>
            </a:r>
          </a:p>
          <a:p>
            <a:r>
              <a:rPr lang="en-US" dirty="0" err="1"/>
              <a:t>Pts</a:t>
            </a:r>
            <a:r>
              <a:rPr lang="en-US" dirty="0"/>
              <a:t> were randomized 2:1 to receive</a:t>
            </a:r>
          </a:p>
          <a:p>
            <a:pPr lvl="1"/>
            <a:r>
              <a:rPr lang="en-US" dirty="0" err="1"/>
              <a:t>Remdesivir</a:t>
            </a:r>
            <a:r>
              <a:rPr lang="en-US" dirty="0"/>
              <a:t> (200 mg IV on day 1, then 100 mg IV once daily on days 2-10)</a:t>
            </a:r>
          </a:p>
          <a:p>
            <a:pPr lvl="1"/>
            <a:r>
              <a:rPr lang="en-US" dirty="0"/>
              <a:t>Placebo initiated within 12 days of symptom onset</a:t>
            </a:r>
          </a:p>
          <a:p>
            <a:r>
              <a:rPr lang="en-US" dirty="0"/>
              <a:t>Primary outcome: median time to clinical improvement was </a:t>
            </a:r>
            <a:r>
              <a:rPr lang="en-US" b="1" dirty="0"/>
              <a:t>not significantly different </a:t>
            </a:r>
            <a:r>
              <a:rPr lang="en-US" dirty="0"/>
              <a:t>in </a:t>
            </a:r>
            <a:r>
              <a:rPr lang="en-US" dirty="0" err="1"/>
              <a:t>remdesivir</a:t>
            </a:r>
            <a:r>
              <a:rPr lang="en-US" dirty="0"/>
              <a:t> group (21d) vs placebo (23d)</a:t>
            </a:r>
          </a:p>
          <a:p>
            <a:pPr lvl="1"/>
            <a:r>
              <a:rPr lang="en-US" dirty="0"/>
              <a:t>28-day mortality rate was similar in both groups (14% vs 13%)</a:t>
            </a:r>
          </a:p>
          <a:p>
            <a:pPr lvl="1"/>
            <a:r>
              <a:rPr lang="en-US" i="1" dirty="0"/>
              <a:t>When </a:t>
            </a:r>
            <a:r>
              <a:rPr lang="en-US" i="1" dirty="0" err="1"/>
              <a:t>remdesivir</a:t>
            </a:r>
            <a:r>
              <a:rPr lang="en-US" i="1" dirty="0"/>
              <a:t> was initiated </a:t>
            </a:r>
            <a:r>
              <a:rPr lang="en-US" b="1" i="1" dirty="0"/>
              <a:t>within 10 days of symptom onset</a:t>
            </a:r>
            <a:r>
              <a:rPr lang="en-US" i="1" dirty="0"/>
              <a:t>, median time to clinical improvement was numerically shorter (but not statistically significant) compared with placebo group (18 vs 23 days)</a:t>
            </a:r>
            <a:endParaRPr lang="en-US" dirty="0"/>
          </a:p>
          <a:p>
            <a:r>
              <a:rPr lang="en-US" dirty="0"/>
              <a:t>Limitation: </a:t>
            </a:r>
            <a:r>
              <a:rPr lang="en-US" b="1" dirty="0"/>
              <a:t>underpowered</a:t>
            </a:r>
          </a:p>
        </p:txBody>
      </p:sp>
    </p:spTree>
    <p:extLst>
      <p:ext uri="{BB962C8B-B14F-4D97-AF65-F5344CB8AC3E}">
        <p14:creationId xmlns:p14="http://schemas.microsoft.com/office/powerpoint/2010/main" val="28475399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ldman JD et al; SIMPLE-Sev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Phase 3 randomized, open-label trial in hospitalized </a:t>
            </a:r>
            <a:r>
              <a:rPr lang="en-US" dirty="0" err="1"/>
              <a:t>pts</a:t>
            </a:r>
            <a:r>
              <a:rPr lang="en-US" dirty="0"/>
              <a:t> with </a:t>
            </a:r>
            <a:r>
              <a:rPr lang="en-US" b="1" dirty="0"/>
              <a:t>severe</a:t>
            </a:r>
            <a:r>
              <a:rPr lang="en-US" dirty="0"/>
              <a:t> COVID-19</a:t>
            </a:r>
          </a:p>
          <a:p>
            <a:pPr lvl="1"/>
            <a:r>
              <a:rPr lang="en-US" dirty="0"/>
              <a:t>Excluded mechanical ventilation at study entry (later modified to include)</a:t>
            </a:r>
          </a:p>
          <a:p>
            <a:r>
              <a:rPr lang="en-US" dirty="0"/>
              <a:t>Evaluated safety and antiviral activity of 5 and 10 day regimens</a:t>
            </a:r>
          </a:p>
          <a:p>
            <a:r>
              <a:rPr lang="en-US" dirty="0"/>
              <a:t>N=397 (no </a:t>
            </a:r>
            <a:r>
              <a:rPr lang="en-US" dirty="0" err="1"/>
              <a:t>mech</a:t>
            </a:r>
            <a:r>
              <a:rPr lang="en-US" dirty="0"/>
              <a:t> vent at study entry); 5-day (n=200), 10-day (n=197)</a:t>
            </a:r>
          </a:p>
          <a:p>
            <a:r>
              <a:rPr lang="en-US" dirty="0"/>
              <a:t>Primary outcome: 14 day clinical improvement</a:t>
            </a:r>
          </a:p>
          <a:p>
            <a:pPr lvl="1"/>
            <a:r>
              <a:rPr lang="en-US" dirty="0"/>
              <a:t>129/200 (65%) in the 5-day group</a:t>
            </a:r>
          </a:p>
          <a:p>
            <a:pPr lvl="1"/>
            <a:r>
              <a:rPr lang="en-US" dirty="0"/>
              <a:t>106/197 (54%) in the 10-day group (higher % men and severe disease category)</a:t>
            </a:r>
          </a:p>
          <a:p>
            <a:pPr lvl="1"/>
            <a:r>
              <a:rPr lang="en-US" dirty="0"/>
              <a:t>After adjusting for baseline imbalances: outcomes were similar in both groups</a:t>
            </a:r>
          </a:p>
          <a:p>
            <a:r>
              <a:rPr lang="en-US" dirty="0"/>
              <a:t>Conclusion: </a:t>
            </a:r>
            <a:r>
              <a:rPr lang="en-US" b="1" dirty="0"/>
              <a:t>treatment beyond 5 days did not appear to improve outcomes </a:t>
            </a:r>
            <a:r>
              <a:rPr lang="en-US" dirty="0"/>
              <a:t>among patients who were receiving noninvasive ventilation or HF oxygen, LF oxygen, or breathing ambient air</a:t>
            </a:r>
          </a:p>
          <a:p>
            <a:pPr lvl="1"/>
            <a:r>
              <a:rPr lang="en-US" dirty="0"/>
              <a:t>Can not extrapolate to critically ill, invasive </a:t>
            </a:r>
            <a:r>
              <a:rPr lang="en-US" dirty="0" err="1"/>
              <a:t>mech</a:t>
            </a:r>
            <a:r>
              <a:rPr lang="en-US" dirty="0"/>
              <a:t> ventilation patien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888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79248E-B47A-0E4F-861E-61BE6A2C9C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urrent Regional Censu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28FF28-2036-AA45-9039-11A5E95F7AD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2653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bgroup analyses from SIMPLE-Severe trial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Factors significantly associated with clinical improvement on day 14</a:t>
            </a:r>
          </a:p>
          <a:p>
            <a:pPr lvl="1"/>
            <a:r>
              <a:rPr lang="en-US" dirty="0"/>
              <a:t>Black race</a:t>
            </a:r>
          </a:p>
          <a:p>
            <a:pPr lvl="1"/>
            <a:r>
              <a:rPr lang="en-US" dirty="0"/>
              <a:t>Age less than 65 years</a:t>
            </a:r>
          </a:p>
          <a:p>
            <a:pPr lvl="1"/>
            <a:r>
              <a:rPr lang="en-US" dirty="0"/>
              <a:t>Treatment outside of Italy</a:t>
            </a:r>
          </a:p>
          <a:p>
            <a:pPr lvl="1"/>
            <a:r>
              <a:rPr lang="en-US" dirty="0"/>
              <a:t>Requirement of </a:t>
            </a:r>
            <a:r>
              <a:rPr lang="en-US" b="1" dirty="0"/>
              <a:t>only low-flow oxygen support or room air </a:t>
            </a:r>
            <a:r>
              <a:rPr lang="en-US" dirty="0"/>
              <a:t>at baseline</a:t>
            </a:r>
          </a:p>
          <a:p>
            <a:r>
              <a:rPr lang="en-US" dirty="0"/>
              <a:t>FYI: concomitant therapy with </a:t>
            </a:r>
            <a:r>
              <a:rPr lang="en-US" dirty="0" err="1"/>
              <a:t>remdesivir</a:t>
            </a:r>
            <a:r>
              <a:rPr lang="en-US" dirty="0"/>
              <a:t> and </a:t>
            </a:r>
            <a:r>
              <a:rPr lang="en-US" dirty="0" err="1"/>
              <a:t>hydroxychloroquine</a:t>
            </a:r>
            <a:r>
              <a:rPr lang="en-US" dirty="0"/>
              <a:t> vs those who received only </a:t>
            </a:r>
            <a:r>
              <a:rPr lang="en-US" dirty="0" err="1"/>
              <a:t>remdesivir</a:t>
            </a:r>
            <a:endParaRPr lang="en-US" dirty="0"/>
          </a:p>
          <a:p>
            <a:pPr lvl="1"/>
            <a:r>
              <a:rPr lang="en-US" dirty="0"/>
              <a:t>Recovery lower in combination (57% vs 69%)</a:t>
            </a:r>
          </a:p>
          <a:p>
            <a:pPr lvl="1"/>
            <a:r>
              <a:rPr lang="en-US" dirty="0"/>
              <a:t>No difference in mortality</a:t>
            </a:r>
          </a:p>
          <a:p>
            <a:pPr lvl="1"/>
            <a:r>
              <a:rPr lang="en-US" dirty="0"/>
              <a:t>Rate of adverse effects higher with combination</a:t>
            </a:r>
          </a:p>
        </p:txBody>
      </p:sp>
    </p:spTree>
    <p:extLst>
      <p:ext uri="{BB962C8B-B14F-4D97-AF65-F5344CB8AC3E}">
        <p14:creationId xmlns:p14="http://schemas.microsoft.com/office/powerpoint/2010/main" val="31794413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PLE-Moderate Preliminary Data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US" dirty="0"/>
              <a:t>Phase 3 randomized, open-label trial in hospitalized </a:t>
            </a:r>
            <a:r>
              <a:rPr lang="en-US" dirty="0" err="1"/>
              <a:t>pts</a:t>
            </a:r>
            <a:r>
              <a:rPr lang="en-US" dirty="0"/>
              <a:t> with </a:t>
            </a:r>
            <a:r>
              <a:rPr lang="en-US" b="1" dirty="0"/>
              <a:t>moderate</a:t>
            </a:r>
            <a:r>
              <a:rPr lang="en-US" dirty="0"/>
              <a:t> COVID-19 (hospitalized with evidence of pulmonary infiltrates but without reduced oxygen levels)</a:t>
            </a:r>
          </a:p>
          <a:p>
            <a:r>
              <a:rPr lang="en-US" dirty="0"/>
              <a:t>Evaluated safety and antiviral activity of 5 and 10 day regimens</a:t>
            </a:r>
          </a:p>
          <a:p>
            <a:r>
              <a:rPr lang="en-US" dirty="0"/>
              <a:t>5-day (n=191), 10-day (n=194), or standard of care alone (n=200)</a:t>
            </a:r>
          </a:p>
          <a:p>
            <a:r>
              <a:rPr lang="en-US" dirty="0"/>
              <a:t>Primary outcome: clinical improvement day 11 (2 point improvement from 7 point ordinal scale)</a:t>
            </a:r>
          </a:p>
          <a:p>
            <a:pPr lvl="1"/>
            <a:r>
              <a:rPr lang="en-US" b="1" dirty="0"/>
              <a:t>No difference noted: 5-day (70%), 10-day (65%), standard of care alone (61%)</a:t>
            </a:r>
          </a:p>
          <a:p>
            <a:r>
              <a:rPr lang="en-US" dirty="0"/>
              <a:t>Subsequent analysis of 1 point improvement: </a:t>
            </a:r>
          </a:p>
          <a:p>
            <a:pPr lvl="1"/>
            <a:r>
              <a:rPr lang="en-US" dirty="0"/>
              <a:t>Statistically significant improvement in clinical status in those treated with a 5-day regimen of </a:t>
            </a:r>
            <a:r>
              <a:rPr lang="en-US" dirty="0" err="1"/>
              <a:t>remdesivir</a:t>
            </a:r>
            <a:r>
              <a:rPr lang="en-US" dirty="0"/>
              <a:t> (76%) compared with standard of care alone (66%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43134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IAID Adaptive COVID-19 Treatment Trial 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[ACTT-1] Phase 3 adaptive, randomized, </a:t>
            </a:r>
            <a:r>
              <a:rPr lang="en-US" dirty="0" err="1"/>
              <a:t>doubleblind</a:t>
            </a:r>
            <a:r>
              <a:rPr lang="en-US" dirty="0"/>
              <a:t>, placebo-controlled trial in hospitalized adults with COVID-19</a:t>
            </a:r>
          </a:p>
          <a:p>
            <a:r>
              <a:rPr lang="en-US" dirty="0"/>
              <a:t>1063 </a:t>
            </a:r>
            <a:r>
              <a:rPr lang="en-US" dirty="0" err="1"/>
              <a:t>pts</a:t>
            </a:r>
            <a:r>
              <a:rPr lang="en-US" dirty="0"/>
              <a:t> randomized 1:1 to receive </a:t>
            </a:r>
            <a:r>
              <a:rPr lang="en-US" dirty="0" err="1"/>
              <a:t>remdesivir</a:t>
            </a:r>
            <a:r>
              <a:rPr lang="en-US" dirty="0"/>
              <a:t> up to 10 days (or until hospital discharge or death) or placebo</a:t>
            </a:r>
          </a:p>
          <a:p>
            <a:pPr lvl="1"/>
            <a:r>
              <a:rPr lang="en-US" dirty="0"/>
              <a:t>88.7% of </a:t>
            </a:r>
            <a:r>
              <a:rPr lang="en-US" dirty="0" err="1"/>
              <a:t>pts</a:t>
            </a:r>
            <a:r>
              <a:rPr lang="en-US" dirty="0"/>
              <a:t> had severe disease at enrollment and median time from symptom onset to randomization was 9 days (range: 6-13 days)</a:t>
            </a:r>
          </a:p>
          <a:p>
            <a:r>
              <a:rPr lang="en-US" dirty="0"/>
              <a:t>Results:</a:t>
            </a:r>
          </a:p>
          <a:p>
            <a:pPr lvl="1"/>
            <a:r>
              <a:rPr lang="en-US" dirty="0"/>
              <a:t>Median time to recovery in </a:t>
            </a:r>
            <a:r>
              <a:rPr lang="en-US" dirty="0" err="1"/>
              <a:t>remdesivir</a:t>
            </a:r>
            <a:r>
              <a:rPr lang="en-US" dirty="0"/>
              <a:t> group (11 days) vs placebo (15 days)</a:t>
            </a:r>
          </a:p>
          <a:p>
            <a:pPr lvl="1"/>
            <a:r>
              <a:rPr lang="en-US" dirty="0"/>
              <a:t>Mortality by day 14: 7.1% in the </a:t>
            </a:r>
            <a:r>
              <a:rPr lang="en-US" dirty="0" err="1"/>
              <a:t>remdesivir</a:t>
            </a:r>
            <a:r>
              <a:rPr lang="en-US" dirty="0"/>
              <a:t> group vs 11.9% in the placebo</a:t>
            </a:r>
          </a:p>
          <a:p>
            <a:r>
              <a:rPr lang="en-US" dirty="0"/>
              <a:t>Preliminary subgroup analyses: the </a:t>
            </a:r>
            <a:r>
              <a:rPr lang="en-US" b="1" dirty="0"/>
              <a:t>benefit</a:t>
            </a:r>
            <a:r>
              <a:rPr lang="en-US" dirty="0"/>
              <a:t> of </a:t>
            </a:r>
            <a:r>
              <a:rPr lang="en-US" dirty="0" err="1"/>
              <a:t>remdesivir</a:t>
            </a:r>
            <a:r>
              <a:rPr lang="en-US" dirty="0"/>
              <a:t> was </a:t>
            </a:r>
            <a:r>
              <a:rPr lang="en-US" b="1" dirty="0"/>
              <a:t>most</a:t>
            </a:r>
            <a:r>
              <a:rPr lang="en-US" dirty="0"/>
              <a:t> </a:t>
            </a:r>
            <a:r>
              <a:rPr lang="en-US" b="1" dirty="0"/>
              <a:t>apparent</a:t>
            </a:r>
            <a:r>
              <a:rPr lang="en-US" dirty="0"/>
              <a:t> in the 421 </a:t>
            </a:r>
            <a:r>
              <a:rPr lang="en-US" dirty="0" err="1"/>
              <a:t>pts</a:t>
            </a:r>
            <a:r>
              <a:rPr lang="en-US" dirty="0"/>
              <a:t> who required supplemental oxygen but were not on mechanical ventilation or ECMO at baseline</a:t>
            </a:r>
          </a:p>
        </p:txBody>
      </p:sp>
    </p:spTree>
    <p:extLst>
      <p:ext uri="{BB962C8B-B14F-4D97-AF65-F5344CB8AC3E}">
        <p14:creationId xmlns:p14="http://schemas.microsoft.com/office/powerpoint/2010/main" val="21244313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047F9D-0D93-3E44-9AED-6C54CB5B691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search on Covid-19 across the Providence St. Joseph Syste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2AA725B-BD32-C442-B925-C4CD5E569C4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5840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019B2ED-7245-634F-9899-5AFF58E6652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15" t="14346" r="11235" b="8861"/>
          <a:stretch/>
        </p:blipFill>
        <p:spPr>
          <a:xfrm>
            <a:off x="352202" y="190019"/>
            <a:ext cx="11430825" cy="6667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26598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423B528A-D770-4545-931F-82C5C2D9D6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62692292"/>
              </p:ext>
            </p:extLst>
          </p:nvPr>
        </p:nvGraphicFramePr>
        <p:xfrm>
          <a:off x="787079" y="196771"/>
          <a:ext cx="10903352" cy="61345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9030968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D6124F-7E9B-DB41-82DE-F42676BD4F6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starting School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E150C2-01AE-CD44-94BC-127D43BA72E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my Thompson</a:t>
            </a:r>
          </a:p>
          <a:p>
            <a:r>
              <a:rPr lang="en-US" dirty="0"/>
              <a:t>David Gray</a:t>
            </a:r>
          </a:p>
        </p:txBody>
      </p:sp>
    </p:spTree>
    <p:extLst>
      <p:ext uri="{BB962C8B-B14F-4D97-AF65-F5344CB8AC3E}">
        <p14:creationId xmlns:p14="http://schemas.microsoft.com/office/powerpoint/2010/main" val="2976488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3C8FA4E-CA8A-AC4E-8C85-F983A33492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exas Demographic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9307FDAA-B804-324F-93EC-967979A3E5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4544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9926BEB-18FF-C24F-B920-C61D5F9956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370" y="0"/>
            <a:ext cx="1098925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5111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>
            <a:extLst>
              <a:ext uri="{FF2B5EF4-FFF2-40B4-BE49-F238E27FC236}">
                <a16:creationId xmlns:a16="http://schemas.microsoft.com/office/drawing/2014/main" id="{714AFE05-D392-E545-AE0F-C6E6E0C2E4D1}"/>
              </a:ext>
            </a:extLst>
          </p:cNvPr>
          <p:cNvSpPr/>
          <p:nvPr/>
        </p:nvSpPr>
        <p:spPr>
          <a:xfrm>
            <a:off x="8696784" y="8655816"/>
            <a:ext cx="1960880" cy="386080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46975E6-2BCD-F84B-9C75-DDFC8BFB97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349" y="0"/>
            <a:ext cx="99633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281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146" y="31624"/>
            <a:ext cx="10524744" cy="1380744"/>
          </a:xfrm>
        </p:spPr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267970"/>
            <a:ext cx="12192000" cy="91440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1049421" y="1885244"/>
          <a:ext cx="10093158" cy="27580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95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90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24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422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8974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5128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67883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83511"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>
                              <a:lumMod val="90000"/>
                              <a:lumOff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bbock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>
                              <a:lumMod val="90000"/>
                              <a:lumOff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ckley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>
                              <a:lumMod val="90000"/>
                              <a:lumOff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l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728"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7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9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7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9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7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9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3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0166"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2709"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a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2709"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2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2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2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543188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7D5A217-16A3-DF49-B073-9AAF7B71E3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627" y="0"/>
            <a:ext cx="1000674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06985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25B6BAC-94E9-9C48-8E54-ABAB283044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306" y="0"/>
            <a:ext cx="994738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01000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de2" descr="COVID Trends">
            <a:extLst>
              <a:ext uri="{FF2B5EF4-FFF2-40B4-BE49-F238E27FC236}">
                <a16:creationId xmlns:a16="http://schemas.microsoft.com/office/drawing/2014/main" id="{D68C942F-1249-4167-B66E-106542D60E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0"/>
            <a:ext cx="1066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7470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de2" descr="COVID Trends">
            <a:extLst>
              <a:ext uri="{FF2B5EF4-FFF2-40B4-BE49-F238E27FC236}">
                <a16:creationId xmlns:a16="http://schemas.microsoft.com/office/drawing/2014/main" id="{F63EEF2E-2032-47A1-AF2C-7341465EEC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0"/>
            <a:ext cx="1066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0491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de2" descr="COVID Trends">
            <a:extLst>
              <a:ext uri="{FF2B5EF4-FFF2-40B4-BE49-F238E27FC236}">
                <a16:creationId xmlns:a16="http://schemas.microsoft.com/office/drawing/2014/main" id="{E5773648-EC05-4182-A935-826DBB5882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0"/>
            <a:ext cx="1066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2539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de2" descr="COVID Trends">
            <a:extLst>
              <a:ext uri="{FF2B5EF4-FFF2-40B4-BE49-F238E27FC236}">
                <a16:creationId xmlns:a16="http://schemas.microsoft.com/office/drawing/2014/main" id="{E0FDE1D5-2193-4351-A9D4-B9D26E8229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0"/>
            <a:ext cx="1066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4486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7BC14F-FEAE-A945-A3C5-B3FDC27FF86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ocial Effects of Quarant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E07B86-2A2E-EE47-869E-79A56D8236C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89636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43493F0-E494-EE4A-9FBB-A6979FCFE0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7100" y="762000"/>
            <a:ext cx="5257800" cy="53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32264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9110974-F214-0D42-9343-A25B0F58163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9600"/>
              <a:t>Q &amp; A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D61BE95-A369-2548-A283-65820DD6E1C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510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146" y="31624"/>
            <a:ext cx="10524744" cy="1380744"/>
          </a:xfrm>
        </p:spPr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 - Lubbock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364236"/>
            <a:ext cx="12192000" cy="91440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716577"/>
            <a:ext cx="12192000" cy="3553885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1608588" y="1609167"/>
            <a:ext cx="7378700" cy="3768703"/>
            <a:chOff x="1676400" y="1539896"/>
            <a:chExt cx="7378700" cy="3768703"/>
          </a:xfrm>
        </p:grpSpPr>
        <p:sp>
          <p:nvSpPr>
            <p:cNvPr id="18" name="Rectangle 17"/>
            <p:cNvSpPr/>
            <p:nvPr/>
          </p:nvSpPr>
          <p:spPr>
            <a:xfrm>
              <a:off x="4648200" y="1549399"/>
              <a:ext cx="546100" cy="3759200"/>
            </a:xfrm>
            <a:prstGeom prst="rect">
              <a:avLst/>
            </a:prstGeom>
            <a:noFill/>
            <a:ln w="19050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327573" y="1549399"/>
              <a:ext cx="723900" cy="3759200"/>
            </a:xfrm>
            <a:prstGeom prst="rect">
              <a:avLst/>
            </a:prstGeom>
            <a:noFill/>
            <a:ln w="19050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7486650" y="1549399"/>
              <a:ext cx="723900" cy="3759200"/>
            </a:xfrm>
            <a:prstGeom prst="rect">
              <a:avLst/>
            </a:prstGeom>
            <a:noFill/>
            <a:ln w="19050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8331200" y="1545233"/>
              <a:ext cx="723900" cy="3759200"/>
            </a:xfrm>
            <a:prstGeom prst="rect">
              <a:avLst/>
            </a:prstGeom>
            <a:noFill/>
            <a:ln w="19050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676400" y="1539896"/>
              <a:ext cx="723900" cy="3759200"/>
            </a:xfrm>
            <a:prstGeom prst="rect">
              <a:avLst/>
            </a:prstGeom>
            <a:noFill/>
            <a:ln w="19050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3195206" y="5574671"/>
            <a:ext cx="58015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 Hospitalized in Lubbock – 18 on vents</a:t>
            </a:r>
          </a:p>
        </p:txBody>
      </p:sp>
    </p:spTree>
    <p:extLst>
      <p:ext uri="{BB962C8B-B14F-4D97-AF65-F5344CB8AC3E}">
        <p14:creationId xmlns:p14="http://schemas.microsoft.com/office/powerpoint/2010/main" val="32980810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146" y="31624"/>
            <a:ext cx="10524744" cy="974725"/>
          </a:xfrm>
        </p:spPr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267970"/>
            <a:ext cx="12192000" cy="91440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527146" y="4230741"/>
          <a:ext cx="11100619" cy="151850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5556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94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405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2087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9138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6020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9138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6188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45367"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15</a:t>
                      </a:r>
                      <a:r>
                        <a:rPr lang="en-US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061"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06,8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90,8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59,88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03,3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51,6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82,3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10,5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68,06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a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0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4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4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1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3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4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7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48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spitaliz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0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3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4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5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89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4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28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9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8545" y="1267970"/>
            <a:ext cx="12192000" cy="211390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3A046C5A-4353-D44F-8DAE-A4375A0A09BB}"/>
              </a:ext>
            </a:extLst>
          </p:cNvPr>
          <p:cNvSpPr/>
          <p:nvPr/>
        </p:nvSpPr>
        <p:spPr>
          <a:xfrm>
            <a:off x="5378849" y="1855212"/>
            <a:ext cx="219565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rgbClr val="FF0000"/>
                </a:solidFill>
              </a:rPr>
              <a:t>Last Week</a:t>
            </a:r>
          </a:p>
        </p:txBody>
      </p:sp>
    </p:spTree>
    <p:extLst>
      <p:ext uri="{BB962C8B-B14F-4D97-AF65-F5344CB8AC3E}">
        <p14:creationId xmlns:p14="http://schemas.microsoft.com/office/powerpoint/2010/main" val="18660364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146" y="31624"/>
            <a:ext cx="10524744" cy="974725"/>
          </a:xfrm>
        </p:spPr>
        <p:txBody>
          <a:bodyPr>
            <a:normAutofit/>
          </a:bodyPr>
          <a:lstStyle/>
          <a:p>
            <a:pPr algn="ctr"/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STATE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267970"/>
            <a:ext cx="12192000" cy="91440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527146" y="4230741"/>
          <a:ext cx="11100618" cy="151850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566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01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36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606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922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7510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4944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0931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4944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92378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345367"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15</a:t>
                      </a:r>
                      <a:r>
                        <a:rPr lang="en-US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061"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57,25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42,9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06,8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59,88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03,3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51,6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82,3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10,5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68,06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a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5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0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0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4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1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3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4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7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48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spitaliz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9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2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0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4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5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89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4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28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9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8545" y="1267970"/>
            <a:ext cx="12192000" cy="2385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557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8802" y="112866"/>
            <a:ext cx="9784080" cy="838007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UI/Confirmed cases-Hospitalized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1162122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295" y="1550742"/>
            <a:ext cx="6117337" cy="4072481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649625" y="5834472"/>
            <a:ext cx="4892750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800" dirty="0"/>
              <a:t>MICU 8 beds opened for COVID 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/>
          <a:srcRect r="5613" b="19557"/>
          <a:stretch/>
        </p:blipFill>
        <p:spPr>
          <a:xfrm>
            <a:off x="6318458" y="1432062"/>
            <a:ext cx="5754715" cy="4296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9543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UpCClAV5oHf.Uv09Fn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4ZFc503tAQ6JnfEklv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Empty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aT0pc1t5njNc.Qjjni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e8TP4XhZ.lnTo2za9cA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.XMQcYbPtSh31.Br9hH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UaM_SWfAmEY4NYmacs7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GyMAMPu_wFFhPSuQDqW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848D6E36-A2CD-164D-9B6F-ABEF66AB6ACB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A7253780-DE27-3648-B9E5-518D3AE3900B}"/>
    </a:ext>
  </a:extLst>
</a:theme>
</file>

<file path=ppt/theme/theme3.xml><?xml version="1.0" encoding="utf-8"?>
<a:theme xmlns:a="http://schemas.openxmlformats.org/drawingml/2006/main" name="1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EBA91C50-C2BF-6544-940E-74B663AC4748}"/>
    </a:ext>
  </a:extLst>
</a:theme>
</file>

<file path=ppt/theme/theme4.xml><?xml version="1.0" encoding="utf-8"?>
<a:theme xmlns:a="http://schemas.openxmlformats.org/drawingml/2006/main" name="3349UU_CF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0C0"/>
      </a:accent1>
      <a:accent2>
        <a:srgbClr val="00529B"/>
      </a:accent2>
      <a:accent3>
        <a:srgbClr val="419639"/>
      </a:accent3>
      <a:accent4>
        <a:srgbClr val="93C571"/>
      </a:accent4>
      <a:accent5>
        <a:srgbClr val="3EABAA"/>
      </a:accent5>
      <a:accent6>
        <a:srgbClr val="808080"/>
      </a:accent6>
      <a:hlink>
        <a:srgbClr val="419639"/>
      </a:hlink>
      <a:folHlink>
        <a:srgbClr val="93C571"/>
      </a:folHlink>
    </a:clrScheme>
    <a:fontScheme name="Custom 10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3C571"/>
        </a:accent1>
        <a:accent2>
          <a:srgbClr val="419639"/>
        </a:accent2>
        <a:accent3>
          <a:srgbClr val="0070C0"/>
        </a:accent3>
        <a:accent4>
          <a:srgbClr val="2F5597"/>
        </a:accent4>
        <a:accent5>
          <a:srgbClr val="3EABAA"/>
        </a:accent5>
        <a:accent6>
          <a:srgbClr val="808080"/>
        </a:accent6>
        <a:hlink>
          <a:srgbClr val="0070C0"/>
        </a:hlink>
        <a:folHlink>
          <a:srgbClr val="2F55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3349UU vF.potx" id="{2BEC9316-A2CD-4894-BBC6-3B78765581E4}" vid="{4A7DEE00-6925-42B1-8430-6A16D9323133}"/>
    </a:ext>
  </a:extLst>
</a:theme>
</file>

<file path=ppt/theme/theme5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enant Health</Template>
  <TotalTime>16560</TotalTime>
  <Words>2404</Words>
  <Application>Microsoft Macintosh PowerPoint</Application>
  <PresentationFormat>Widescreen</PresentationFormat>
  <Paragraphs>534</Paragraphs>
  <Slides>58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8</vt:i4>
      </vt:variant>
    </vt:vector>
  </HeadingPairs>
  <TitlesOfParts>
    <vt:vector size="72" baseType="lpstr">
      <vt:lpstr>Arial</vt:lpstr>
      <vt:lpstr>Arial Narrow</vt:lpstr>
      <vt:lpstr>Calibri</vt:lpstr>
      <vt:lpstr>Calibri Light</vt:lpstr>
      <vt:lpstr>Georgia</vt:lpstr>
      <vt:lpstr>Helvetica Neue Medium</vt:lpstr>
      <vt:lpstr>Segoe UI</vt:lpstr>
      <vt:lpstr>Wingdings</vt:lpstr>
      <vt:lpstr>Covenant Health</vt:lpstr>
      <vt:lpstr>Custom Design</vt:lpstr>
      <vt:lpstr>1_Covenant Health</vt:lpstr>
      <vt:lpstr>3349UU_CF</vt:lpstr>
      <vt:lpstr>1_Office Theme</vt:lpstr>
      <vt:lpstr>think-cell Slide</vt:lpstr>
      <vt:lpstr>Covenant Health Regional Update for Physicians</vt:lpstr>
      <vt:lpstr>Reflection</vt:lpstr>
      <vt:lpstr>Safety Story</vt:lpstr>
      <vt:lpstr>Current Regional Census</vt:lpstr>
      <vt:lpstr>Regional</vt:lpstr>
      <vt:lpstr>Regional - Lubbock</vt:lpstr>
      <vt:lpstr>STATE</vt:lpstr>
      <vt:lpstr>STATE</vt:lpstr>
      <vt:lpstr>PUI/Confirmed cases-Hospitalized</vt:lpstr>
      <vt:lpstr>PUI/Confirmed cases-hospitalized</vt:lpstr>
      <vt:lpstr>Surge Plan</vt:lpstr>
      <vt:lpstr>Statistics</vt:lpstr>
      <vt:lpstr>Providence System Hospitalized COVID-19 Cases</vt:lpstr>
      <vt:lpstr>Providence Inpatient COVID-19 Volume</vt:lpstr>
      <vt:lpstr>Texas Inpatient COVID-19 Volume</vt:lpstr>
      <vt:lpstr>New Covid-19 POSITIVES by Day Trend </vt:lpstr>
      <vt:lpstr> Covid-19 Daily Positive Rate </vt:lpstr>
      <vt:lpstr> Covid-19 POSITIVES Age Distribution </vt:lpstr>
      <vt:lpstr>TX/NM Region Weekly Procedures (YOY)</vt:lpstr>
      <vt:lpstr>Providence St. Joseph System Covid-19 Status</vt:lpstr>
      <vt:lpstr>PowerPoint Presentation</vt:lpstr>
      <vt:lpstr>PowerPoint Presentation</vt:lpstr>
      <vt:lpstr>Covid-19 vs Flu</vt:lpstr>
      <vt:lpstr>Covid-19 vs Flu</vt:lpstr>
      <vt:lpstr>Covid-19 vs Flu</vt:lpstr>
      <vt:lpstr>Covid-19 Testing</vt:lpstr>
      <vt:lpstr>TESTING</vt:lpstr>
      <vt:lpstr>TESTING – STATEWIDE Results</vt:lpstr>
      <vt:lpstr>Returning to Operations</vt:lpstr>
      <vt:lpstr>PowerPoint Presentation</vt:lpstr>
      <vt:lpstr>Critical Inventory - REH</vt:lpstr>
      <vt:lpstr>COVID Supplies/equipment</vt:lpstr>
      <vt:lpstr>Pharmacy Update</vt:lpstr>
      <vt:lpstr>CHS COVID-19 Treatments</vt:lpstr>
      <vt:lpstr>Pharmacy Shortages/Allocations</vt:lpstr>
      <vt:lpstr>NIH Remdesivir Recommendations</vt:lpstr>
      <vt:lpstr>NIH Remdesivir Recommendations</vt:lpstr>
      <vt:lpstr>Wang Y et al</vt:lpstr>
      <vt:lpstr>Goldman JD et al; SIMPLE-Severe</vt:lpstr>
      <vt:lpstr>Subgroup analyses from SIMPLE-Severe trial </vt:lpstr>
      <vt:lpstr>SIMPLE-Moderate Preliminary Data </vt:lpstr>
      <vt:lpstr>NIAID Adaptive COVID-19 Treatment Trial 1</vt:lpstr>
      <vt:lpstr>Research on Covid-19 across the Providence St. Joseph System</vt:lpstr>
      <vt:lpstr>PowerPoint Presentation</vt:lpstr>
      <vt:lpstr>PowerPoint Presentation</vt:lpstr>
      <vt:lpstr>Restarting Schools</vt:lpstr>
      <vt:lpstr>Texas Demographic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ocial Effects of Quarantine</vt:lpstr>
      <vt:lpstr>PowerPoint Presentation</vt:lpstr>
      <vt:lpstr>Q &amp; A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nant Health presents New Provider Training:  Best Practices </dc:title>
  <dc:creator>Rhyne, Craig</dc:creator>
  <cp:lastModifiedBy>Rhyne, Craig D</cp:lastModifiedBy>
  <cp:revision>393</cp:revision>
  <cp:lastPrinted>2020-04-06T20:21:57Z</cp:lastPrinted>
  <dcterms:created xsi:type="dcterms:W3CDTF">2020-04-06T15:45:06Z</dcterms:created>
  <dcterms:modified xsi:type="dcterms:W3CDTF">2020-08-21T16:35:07Z</dcterms:modified>
</cp:coreProperties>
</file>